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4.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5.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6.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7.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8.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6" r:id="rId5"/>
    <p:sldMasterId id="2147483734" r:id="rId6"/>
    <p:sldMasterId id="2147483777" r:id="rId7"/>
    <p:sldMasterId id="2147483802" r:id="rId8"/>
    <p:sldMasterId id="2147483852" r:id="rId9"/>
    <p:sldMasterId id="2147483874" r:id="rId10"/>
    <p:sldMasterId id="2147483924" r:id="rId11"/>
    <p:sldMasterId id="2147483945" r:id="rId12"/>
  </p:sldMasterIdLst>
  <p:notesMasterIdLst>
    <p:notesMasterId r:id="rId58"/>
  </p:notesMasterIdLst>
  <p:sldIdLst>
    <p:sldId id="2147477667" r:id="rId13"/>
    <p:sldId id="2147477661" r:id="rId14"/>
    <p:sldId id="2147477641" r:id="rId15"/>
    <p:sldId id="2147477693" r:id="rId16"/>
    <p:sldId id="491" r:id="rId17"/>
    <p:sldId id="2147477686" r:id="rId18"/>
    <p:sldId id="454" r:id="rId19"/>
    <p:sldId id="415" r:id="rId20"/>
    <p:sldId id="416" r:id="rId21"/>
    <p:sldId id="406" r:id="rId22"/>
    <p:sldId id="2147477702" r:id="rId23"/>
    <p:sldId id="2147477694" r:id="rId24"/>
    <p:sldId id="2146847325" r:id="rId25"/>
    <p:sldId id="424" r:id="rId26"/>
    <p:sldId id="425" r:id="rId27"/>
    <p:sldId id="426" r:id="rId28"/>
    <p:sldId id="427" r:id="rId29"/>
    <p:sldId id="2146847328" r:id="rId30"/>
    <p:sldId id="428" r:id="rId31"/>
    <p:sldId id="2147477697" r:id="rId32"/>
    <p:sldId id="2147477692" r:id="rId33"/>
    <p:sldId id="2147477703" r:id="rId34"/>
    <p:sldId id="2147477704" r:id="rId35"/>
    <p:sldId id="2147477685" r:id="rId36"/>
    <p:sldId id="2147477699" r:id="rId37"/>
    <p:sldId id="2147477700" r:id="rId38"/>
    <p:sldId id="2147477687" r:id="rId39"/>
    <p:sldId id="2146847318" r:id="rId40"/>
    <p:sldId id="2146847309" r:id="rId41"/>
    <p:sldId id="2145706587" r:id="rId42"/>
    <p:sldId id="2147477689" r:id="rId43"/>
    <p:sldId id="2147477674" r:id="rId44"/>
    <p:sldId id="2147477695" r:id="rId45"/>
    <p:sldId id="501" r:id="rId46"/>
    <p:sldId id="2147477690" r:id="rId47"/>
    <p:sldId id="434" r:id="rId48"/>
    <p:sldId id="433" r:id="rId49"/>
    <p:sldId id="2147477691" r:id="rId50"/>
    <p:sldId id="432" r:id="rId51"/>
    <p:sldId id="436" r:id="rId52"/>
    <p:sldId id="2147477654" r:id="rId53"/>
    <p:sldId id="2147477486" r:id="rId54"/>
    <p:sldId id="2741" r:id="rId55"/>
    <p:sldId id="2745" r:id="rId56"/>
    <p:sldId id="2145872106" r:id="rId5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EB6824-77BE-946D-1C8A-A730F59CB83B}" name="Green, Marcus" initials="GM" userId="S::marcus.green@optum.com::30bed584-a595-42a2-9e97-835b8ce0a3d0" providerId="AD"/>
  <p188:author id="{EA28935A-245E-4E23-F8EF-89E9ED5C66AF}" name="Green, Joe" initials="GJ" userId="S::joe.green@optum.com::eeb88818-a4bd-4ef4-bdef-93368f32f0be" providerId="AD"/>
  <p188:author id="{5D8AC9B5-49AC-128D-23BC-8E958E894347}" name="Bahrami Jovein, Layla (she/her)" initials="BJL(" userId="S::layla.bahramijovein@optum.com::564c9fd6-df70-4614-9d39-b1969e2021ac" providerId="AD"/>
  <p188:author id="{9C4D25BA-2810-378F-ED9A-33C3E65A17AD}" name="Payne, Lauren M" initials="PLM" userId="S::lauren.payne@optum.com::c75c741d-8858-4b71-af13-2fba0c430cbf"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78E1D9-DDE9-45BA-A19C-2917F7177A39}" v="1185" vWet="1187" dt="2024-01-09T15:08:17.781"/>
    <p1510:client id="{BA34F325-CCBC-4CE7-BE63-197ABCCC171D}" v="1204" dt="2024-01-09T06:42:23.620"/>
    <p1510:client id="{FD801BB5-6C41-42BD-B611-F0B6F730DF36}" v="1135" dt="2024-01-09T15:58:10.87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presProps" Target="presProp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viewProps" Target="viewProps.xml"/><Relationship Id="rId6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een, Joe" userId="eeb88818-a4bd-4ef4-bdef-93368f32f0be" providerId="ADAL" clId="{0A78E1D9-DDE9-45BA-A19C-2917F7177A39}"/>
    <pc:docChg chg="undo custSel addSld delSld modSld sldOrd">
      <pc:chgData name="Green, Joe" userId="eeb88818-a4bd-4ef4-bdef-93368f32f0be" providerId="ADAL" clId="{0A78E1D9-DDE9-45BA-A19C-2917F7177A39}" dt="2024-01-09T14:58:46.725" v="5499" actId="729"/>
      <pc:docMkLst>
        <pc:docMk/>
      </pc:docMkLst>
      <pc:sldChg chg="modSp mod">
        <pc:chgData name="Green, Joe" userId="eeb88818-a4bd-4ef4-bdef-93368f32f0be" providerId="ADAL" clId="{0A78E1D9-DDE9-45BA-A19C-2917F7177A39}" dt="2024-01-09T12:22:49.862" v="5300" actId="20577"/>
        <pc:sldMkLst>
          <pc:docMk/>
          <pc:sldMk cId="1837463162" sldId="491"/>
        </pc:sldMkLst>
        <pc:spChg chg="mod">
          <ac:chgData name="Green, Joe" userId="eeb88818-a4bd-4ef4-bdef-93368f32f0be" providerId="ADAL" clId="{0A78E1D9-DDE9-45BA-A19C-2917F7177A39}" dt="2024-01-09T12:22:49.862" v="5300" actId="20577"/>
          <ac:spMkLst>
            <pc:docMk/>
            <pc:sldMk cId="1837463162" sldId="491"/>
            <ac:spMk id="17" creationId="{F3EC8CA1-111B-491B-96DD-E122AB0AA912}"/>
          </ac:spMkLst>
        </pc:spChg>
      </pc:sldChg>
      <pc:sldChg chg="delSp mod">
        <pc:chgData name="Green, Joe" userId="eeb88818-a4bd-4ef4-bdef-93368f32f0be" providerId="ADAL" clId="{0A78E1D9-DDE9-45BA-A19C-2917F7177A39}" dt="2023-12-12T14:09:56.428" v="433" actId="478"/>
        <pc:sldMkLst>
          <pc:docMk/>
          <pc:sldMk cId="1305249720" sldId="1453"/>
        </pc:sldMkLst>
        <pc:spChg chg="del">
          <ac:chgData name="Green, Joe" userId="eeb88818-a4bd-4ef4-bdef-93368f32f0be" providerId="ADAL" clId="{0A78E1D9-DDE9-45BA-A19C-2917F7177A39}" dt="2023-12-12T14:09:56.428" v="433" actId="478"/>
          <ac:spMkLst>
            <pc:docMk/>
            <pc:sldMk cId="1305249720" sldId="1453"/>
            <ac:spMk id="6" creationId="{C5F88E9E-311E-E993-EC2C-AE62E3CB18E9}"/>
          </ac:spMkLst>
        </pc:spChg>
      </pc:sldChg>
      <pc:sldChg chg="delSp mod">
        <pc:chgData name="Green, Joe" userId="eeb88818-a4bd-4ef4-bdef-93368f32f0be" providerId="ADAL" clId="{0A78E1D9-DDE9-45BA-A19C-2917F7177A39}" dt="2023-12-12T14:06:59.772" v="430" actId="478"/>
        <pc:sldMkLst>
          <pc:docMk/>
          <pc:sldMk cId="3383837479" sldId="2145872161"/>
        </pc:sldMkLst>
        <pc:spChg chg="del">
          <ac:chgData name="Green, Joe" userId="eeb88818-a4bd-4ef4-bdef-93368f32f0be" providerId="ADAL" clId="{0A78E1D9-DDE9-45BA-A19C-2917F7177A39}" dt="2023-12-12T14:06:58.672" v="429" actId="478"/>
          <ac:spMkLst>
            <pc:docMk/>
            <pc:sldMk cId="3383837479" sldId="2145872161"/>
            <ac:spMk id="10" creationId="{9C4BCA90-A367-F802-7D23-98F5F9FE94D6}"/>
          </ac:spMkLst>
        </pc:spChg>
        <pc:spChg chg="del">
          <ac:chgData name="Green, Joe" userId="eeb88818-a4bd-4ef4-bdef-93368f32f0be" providerId="ADAL" clId="{0A78E1D9-DDE9-45BA-A19C-2917F7177A39}" dt="2023-12-12T14:06:59.772" v="430" actId="478"/>
          <ac:spMkLst>
            <pc:docMk/>
            <pc:sldMk cId="3383837479" sldId="2145872161"/>
            <ac:spMk id="11" creationId="{9CD5DFF8-765B-9284-16B9-AB53CF0CA9B2}"/>
          </ac:spMkLst>
        </pc:spChg>
      </pc:sldChg>
      <pc:sldChg chg="delSp mod">
        <pc:chgData name="Green, Joe" userId="eeb88818-a4bd-4ef4-bdef-93368f32f0be" providerId="ADAL" clId="{0A78E1D9-DDE9-45BA-A19C-2917F7177A39}" dt="2023-12-12T14:06:56.346" v="428" actId="478"/>
        <pc:sldMkLst>
          <pc:docMk/>
          <pc:sldMk cId="1068183813" sldId="2145872162"/>
        </pc:sldMkLst>
        <pc:spChg chg="del">
          <ac:chgData name="Green, Joe" userId="eeb88818-a4bd-4ef4-bdef-93368f32f0be" providerId="ADAL" clId="{0A78E1D9-DDE9-45BA-A19C-2917F7177A39}" dt="2023-12-12T14:06:56.346" v="428" actId="478"/>
          <ac:spMkLst>
            <pc:docMk/>
            <pc:sldMk cId="1068183813" sldId="2145872162"/>
            <ac:spMk id="5" creationId="{4B88754F-6E3B-122E-1EE2-84251C2447B2}"/>
          </ac:spMkLst>
        </pc:spChg>
      </pc:sldChg>
      <pc:sldChg chg="delSp mod">
        <pc:chgData name="Green, Joe" userId="eeb88818-a4bd-4ef4-bdef-93368f32f0be" providerId="ADAL" clId="{0A78E1D9-DDE9-45BA-A19C-2917F7177A39}" dt="2023-12-12T14:06:50.570" v="427" actId="478"/>
        <pc:sldMkLst>
          <pc:docMk/>
          <pc:sldMk cId="3803315824" sldId="2145872181"/>
        </pc:sldMkLst>
        <pc:spChg chg="del">
          <ac:chgData name="Green, Joe" userId="eeb88818-a4bd-4ef4-bdef-93368f32f0be" providerId="ADAL" clId="{0A78E1D9-DDE9-45BA-A19C-2917F7177A39}" dt="2023-12-12T14:06:48.351" v="426" actId="478"/>
          <ac:spMkLst>
            <pc:docMk/>
            <pc:sldMk cId="3803315824" sldId="2145872181"/>
            <ac:spMk id="6" creationId="{335E6F99-DDEB-DF20-119D-CE616F861CB2}"/>
          </ac:spMkLst>
        </pc:spChg>
        <pc:spChg chg="del">
          <ac:chgData name="Green, Joe" userId="eeb88818-a4bd-4ef4-bdef-93368f32f0be" providerId="ADAL" clId="{0A78E1D9-DDE9-45BA-A19C-2917F7177A39}" dt="2023-12-12T14:06:50.570" v="427" actId="478"/>
          <ac:spMkLst>
            <pc:docMk/>
            <pc:sldMk cId="3803315824" sldId="2145872181"/>
            <ac:spMk id="7" creationId="{0F440269-C994-730E-83EB-8A00E250E1F0}"/>
          </ac:spMkLst>
        </pc:spChg>
      </pc:sldChg>
      <pc:sldChg chg="add">
        <pc:chgData name="Green, Joe" userId="eeb88818-a4bd-4ef4-bdef-93368f32f0be" providerId="ADAL" clId="{0A78E1D9-DDE9-45BA-A19C-2917F7177A39}" dt="2023-12-12T14:33:26.602" v="1322"/>
        <pc:sldMkLst>
          <pc:docMk/>
          <pc:sldMk cId="3094761460" sldId="2146847325"/>
        </pc:sldMkLst>
      </pc:sldChg>
      <pc:sldChg chg="add">
        <pc:chgData name="Green, Joe" userId="eeb88818-a4bd-4ef4-bdef-93368f32f0be" providerId="ADAL" clId="{0A78E1D9-DDE9-45BA-A19C-2917F7177A39}" dt="2023-12-12T14:33:43.880" v="1325"/>
        <pc:sldMkLst>
          <pc:docMk/>
          <pc:sldMk cId="2396347546" sldId="2146847328"/>
        </pc:sldMkLst>
      </pc:sldChg>
      <pc:sldChg chg="add">
        <pc:chgData name="Green, Joe" userId="eeb88818-a4bd-4ef4-bdef-93368f32f0be" providerId="ADAL" clId="{0A78E1D9-DDE9-45BA-A19C-2917F7177A39}" dt="2023-12-12T14:33:37.467" v="1324"/>
        <pc:sldMkLst>
          <pc:docMk/>
          <pc:sldMk cId="4113972924" sldId="2146847329"/>
        </pc:sldMkLst>
      </pc:sldChg>
      <pc:sldChg chg="delSp mod">
        <pc:chgData name="Green, Joe" userId="eeb88818-a4bd-4ef4-bdef-93368f32f0be" providerId="ADAL" clId="{0A78E1D9-DDE9-45BA-A19C-2917F7177A39}" dt="2023-12-12T14:06:42.824" v="425" actId="478"/>
        <pc:sldMkLst>
          <pc:docMk/>
          <pc:sldMk cId="63716753" sldId="2147477468"/>
        </pc:sldMkLst>
        <pc:spChg chg="del">
          <ac:chgData name="Green, Joe" userId="eeb88818-a4bd-4ef4-bdef-93368f32f0be" providerId="ADAL" clId="{0A78E1D9-DDE9-45BA-A19C-2917F7177A39}" dt="2023-12-12T14:06:42.824" v="425" actId="478"/>
          <ac:spMkLst>
            <pc:docMk/>
            <pc:sldMk cId="63716753" sldId="2147477468"/>
            <ac:spMk id="7" creationId="{AC560EFB-CF5A-50AF-7520-5AC42537B0A5}"/>
          </ac:spMkLst>
        </pc:spChg>
        <pc:picChg chg="del">
          <ac:chgData name="Green, Joe" userId="eeb88818-a4bd-4ef4-bdef-93368f32f0be" providerId="ADAL" clId="{0A78E1D9-DDE9-45BA-A19C-2917F7177A39}" dt="2023-12-12T14:06:40.877" v="424" actId="478"/>
          <ac:picMkLst>
            <pc:docMk/>
            <pc:sldMk cId="63716753" sldId="2147477468"/>
            <ac:picMk id="9" creationId="{F1E28E59-2EC0-1E86-AA32-DD281B3B583A}"/>
          </ac:picMkLst>
        </pc:picChg>
      </pc:sldChg>
      <pc:sldChg chg="delSp mod">
        <pc:chgData name="Green, Joe" userId="eeb88818-a4bd-4ef4-bdef-93368f32f0be" providerId="ADAL" clId="{0A78E1D9-DDE9-45BA-A19C-2917F7177A39}" dt="2023-12-12T14:13:53.467" v="436" actId="478"/>
        <pc:sldMkLst>
          <pc:docMk/>
          <pc:sldMk cId="755667649" sldId="2147477473"/>
        </pc:sldMkLst>
        <pc:spChg chg="del">
          <ac:chgData name="Green, Joe" userId="eeb88818-a4bd-4ef4-bdef-93368f32f0be" providerId="ADAL" clId="{0A78E1D9-DDE9-45BA-A19C-2917F7177A39}" dt="2023-12-12T14:13:53.467" v="436" actId="478"/>
          <ac:spMkLst>
            <pc:docMk/>
            <pc:sldMk cId="755667649" sldId="2147477473"/>
            <ac:spMk id="13" creationId="{163FA147-8715-9C20-2289-501731060A3D}"/>
          </ac:spMkLst>
        </pc:spChg>
      </pc:sldChg>
      <pc:sldChg chg="delSp mod">
        <pc:chgData name="Green, Joe" userId="eeb88818-a4bd-4ef4-bdef-93368f32f0be" providerId="ADAL" clId="{0A78E1D9-DDE9-45BA-A19C-2917F7177A39}" dt="2023-12-12T14:09:44.027" v="431" actId="478"/>
        <pc:sldMkLst>
          <pc:docMk/>
          <pc:sldMk cId="2639260183" sldId="2147477476"/>
        </pc:sldMkLst>
        <pc:grpChg chg="del">
          <ac:chgData name="Green, Joe" userId="eeb88818-a4bd-4ef4-bdef-93368f32f0be" providerId="ADAL" clId="{0A78E1D9-DDE9-45BA-A19C-2917F7177A39}" dt="2023-12-12T14:09:44.027" v="431" actId="478"/>
          <ac:grpSpMkLst>
            <pc:docMk/>
            <pc:sldMk cId="2639260183" sldId="2147477476"/>
            <ac:grpSpMk id="2" creationId="{D83A3117-8C10-6850-845B-1E91F2627205}"/>
          </ac:grpSpMkLst>
        </pc:grpChg>
      </pc:sldChg>
      <pc:sldChg chg="delSp mod">
        <pc:chgData name="Green, Joe" userId="eeb88818-a4bd-4ef4-bdef-93368f32f0be" providerId="ADAL" clId="{0A78E1D9-DDE9-45BA-A19C-2917F7177A39}" dt="2023-12-12T14:09:50.359" v="432" actId="478"/>
        <pc:sldMkLst>
          <pc:docMk/>
          <pc:sldMk cId="2362850330" sldId="2147477477"/>
        </pc:sldMkLst>
        <pc:grpChg chg="del">
          <ac:chgData name="Green, Joe" userId="eeb88818-a4bd-4ef4-bdef-93368f32f0be" providerId="ADAL" clId="{0A78E1D9-DDE9-45BA-A19C-2917F7177A39}" dt="2023-12-12T14:09:50.359" v="432" actId="478"/>
          <ac:grpSpMkLst>
            <pc:docMk/>
            <pc:sldMk cId="2362850330" sldId="2147477477"/>
            <ac:grpSpMk id="2" creationId="{9E47CD4C-C847-A9D1-ED87-073CE0FC14B3}"/>
          </ac:grpSpMkLst>
        </pc:grpChg>
      </pc:sldChg>
      <pc:sldChg chg="delSp mod">
        <pc:chgData name="Green, Joe" userId="eeb88818-a4bd-4ef4-bdef-93368f32f0be" providerId="ADAL" clId="{0A78E1D9-DDE9-45BA-A19C-2917F7177A39}" dt="2023-12-12T14:10:03.922" v="435" actId="478"/>
        <pc:sldMkLst>
          <pc:docMk/>
          <pc:sldMk cId="2315886822" sldId="2147477478"/>
        </pc:sldMkLst>
        <pc:grpChg chg="del">
          <ac:chgData name="Green, Joe" userId="eeb88818-a4bd-4ef4-bdef-93368f32f0be" providerId="ADAL" clId="{0A78E1D9-DDE9-45BA-A19C-2917F7177A39}" dt="2023-12-12T14:10:03.922" v="435" actId="478"/>
          <ac:grpSpMkLst>
            <pc:docMk/>
            <pc:sldMk cId="2315886822" sldId="2147477478"/>
            <ac:grpSpMk id="2" creationId="{86BB6029-5EC6-ED80-6039-E07AEF962F51}"/>
          </ac:grpSpMkLst>
        </pc:grpChg>
      </pc:sldChg>
      <pc:sldChg chg="delSp mod">
        <pc:chgData name="Green, Joe" userId="eeb88818-a4bd-4ef4-bdef-93368f32f0be" providerId="ADAL" clId="{0A78E1D9-DDE9-45BA-A19C-2917F7177A39}" dt="2023-12-12T14:09:59.241" v="434" actId="478"/>
        <pc:sldMkLst>
          <pc:docMk/>
          <pc:sldMk cId="3720795046" sldId="2147477479"/>
        </pc:sldMkLst>
        <pc:grpChg chg="del">
          <ac:chgData name="Green, Joe" userId="eeb88818-a4bd-4ef4-bdef-93368f32f0be" providerId="ADAL" clId="{0A78E1D9-DDE9-45BA-A19C-2917F7177A39}" dt="2023-12-12T14:09:59.241" v="434" actId="478"/>
          <ac:grpSpMkLst>
            <pc:docMk/>
            <pc:sldMk cId="3720795046" sldId="2147477479"/>
            <ac:grpSpMk id="2" creationId="{34DE3BF9-1388-2527-A7C8-4B42AFDEC736}"/>
          </ac:grpSpMkLst>
        </pc:grpChg>
      </pc:sldChg>
      <pc:sldChg chg="modSp mod">
        <pc:chgData name="Green, Joe" userId="eeb88818-a4bd-4ef4-bdef-93368f32f0be" providerId="ADAL" clId="{0A78E1D9-DDE9-45BA-A19C-2917F7177A39}" dt="2023-12-06T14:15:14.591" v="2" actId="20577"/>
        <pc:sldMkLst>
          <pc:docMk/>
          <pc:sldMk cId="1578626433" sldId="2147477667"/>
        </pc:sldMkLst>
        <pc:spChg chg="mod">
          <ac:chgData name="Green, Joe" userId="eeb88818-a4bd-4ef4-bdef-93368f32f0be" providerId="ADAL" clId="{0A78E1D9-DDE9-45BA-A19C-2917F7177A39}" dt="2023-12-06T14:15:14.591" v="2" actId="20577"/>
          <ac:spMkLst>
            <pc:docMk/>
            <pc:sldMk cId="1578626433" sldId="2147477667"/>
            <ac:spMk id="2" creationId="{8F7651C8-53FA-2AD7-3D13-B9737723E284}"/>
          </ac:spMkLst>
        </pc:spChg>
      </pc:sldChg>
      <pc:sldChg chg="modSp new mod">
        <pc:chgData name="Green, Joe" userId="eeb88818-a4bd-4ef4-bdef-93368f32f0be" providerId="ADAL" clId="{0A78E1D9-DDE9-45BA-A19C-2917F7177A39}" dt="2023-12-12T14:23:40.022" v="647" actId="255"/>
        <pc:sldMkLst>
          <pc:docMk/>
          <pc:sldMk cId="2806207845" sldId="2147477668"/>
        </pc:sldMkLst>
        <pc:spChg chg="mod">
          <ac:chgData name="Green, Joe" userId="eeb88818-a4bd-4ef4-bdef-93368f32f0be" providerId="ADAL" clId="{0A78E1D9-DDE9-45BA-A19C-2917F7177A39}" dt="2023-12-12T12:59:02.974" v="6" actId="20577"/>
          <ac:spMkLst>
            <pc:docMk/>
            <pc:sldMk cId="2806207845" sldId="2147477668"/>
            <ac:spMk id="2" creationId="{FD7CE21E-93CB-A4D0-73F6-32853E24358C}"/>
          </ac:spMkLst>
        </pc:spChg>
        <pc:spChg chg="mod">
          <ac:chgData name="Green, Joe" userId="eeb88818-a4bd-4ef4-bdef-93368f32f0be" providerId="ADAL" clId="{0A78E1D9-DDE9-45BA-A19C-2917F7177A39}" dt="2023-12-12T14:23:40.022" v="647" actId="255"/>
          <ac:spMkLst>
            <pc:docMk/>
            <pc:sldMk cId="2806207845" sldId="2147477668"/>
            <ac:spMk id="3" creationId="{1BF26ED0-3B5B-1C45-E86F-49568A87B24C}"/>
          </ac:spMkLst>
        </pc:spChg>
      </pc:sldChg>
      <pc:sldChg chg="modSp new del mod">
        <pc:chgData name="Green, Joe" userId="eeb88818-a4bd-4ef4-bdef-93368f32f0be" providerId="ADAL" clId="{0A78E1D9-DDE9-45BA-A19C-2917F7177A39}" dt="2023-12-12T15:18:30.378" v="2266" actId="47"/>
        <pc:sldMkLst>
          <pc:docMk/>
          <pc:sldMk cId="2598985851" sldId="2147477669"/>
        </pc:sldMkLst>
        <pc:spChg chg="mod">
          <ac:chgData name="Green, Joe" userId="eeb88818-a4bd-4ef4-bdef-93368f32f0be" providerId="ADAL" clId="{0A78E1D9-DDE9-45BA-A19C-2917F7177A39}" dt="2023-12-12T13:00:59.031" v="190" actId="20577"/>
          <ac:spMkLst>
            <pc:docMk/>
            <pc:sldMk cId="2598985851" sldId="2147477669"/>
            <ac:spMk id="2" creationId="{A54A3247-3EC4-15D1-3BF1-2E13A48C2E2D}"/>
          </ac:spMkLst>
        </pc:spChg>
      </pc:sldChg>
      <pc:sldChg chg="modSp new del mod">
        <pc:chgData name="Green, Joe" userId="eeb88818-a4bd-4ef4-bdef-93368f32f0be" providerId="ADAL" clId="{0A78E1D9-DDE9-45BA-A19C-2917F7177A39}" dt="2023-12-12T14:33:28.768" v="1323" actId="47"/>
        <pc:sldMkLst>
          <pc:docMk/>
          <pc:sldMk cId="1733028450" sldId="2147477670"/>
        </pc:sldMkLst>
        <pc:spChg chg="mod">
          <ac:chgData name="Green, Joe" userId="eeb88818-a4bd-4ef4-bdef-93368f32f0be" providerId="ADAL" clId="{0A78E1D9-DDE9-45BA-A19C-2917F7177A39}" dt="2023-12-12T13:00:42.363" v="166" actId="20577"/>
          <ac:spMkLst>
            <pc:docMk/>
            <pc:sldMk cId="1733028450" sldId="2147477670"/>
            <ac:spMk id="2" creationId="{3D5E82E9-B14F-5679-DB7D-EF75CC1C60EE}"/>
          </ac:spMkLst>
        </pc:spChg>
      </pc:sldChg>
      <pc:sldChg chg="addSp modSp new mod">
        <pc:chgData name="Green, Joe" userId="eeb88818-a4bd-4ef4-bdef-93368f32f0be" providerId="ADAL" clId="{0A78E1D9-DDE9-45BA-A19C-2917F7177A39}" dt="2023-12-12T15:17:06.381" v="2265" actId="313"/>
        <pc:sldMkLst>
          <pc:docMk/>
          <pc:sldMk cId="3398652587" sldId="2147477671"/>
        </pc:sldMkLst>
        <pc:spChg chg="mod">
          <ac:chgData name="Green, Joe" userId="eeb88818-a4bd-4ef4-bdef-93368f32f0be" providerId="ADAL" clId="{0A78E1D9-DDE9-45BA-A19C-2917F7177A39}" dt="2023-12-12T13:00:30.011" v="153" actId="20577"/>
          <ac:spMkLst>
            <pc:docMk/>
            <pc:sldMk cId="3398652587" sldId="2147477671"/>
            <ac:spMk id="2" creationId="{B083B918-3D1D-3FD5-11E8-6F35CFA98713}"/>
          </ac:spMkLst>
        </pc:spChg>
        <pc:spChg chg="mod">
          <ac:chgData name="Green, Joe" userId="eeb88818-a4bd-4ef4-bdef-93368f32f0be" providerId="ADAL" clId="{0A78E1D9-DDE9-45BA-A19C-2917F7177A39}" dt="2023-12-12T15:12:29.067" v="1942" actId="20577"/>
          <ac:spMkLst>
            <pc:docMk/>
            <pc:sldMk cId="3398652587" sldId="2147477671"/>
            <ac:spMk id="3" creationId="{3C82C827-A080-1927-F43B-F577B8CE5AE5}"/>
          </ac:spMkLst>
        </pc:spChg>
        <pc:spChg chg="add mod">
          <ac:chgData name="Green, Joe" userId="eeb88818-a4bd-4ef4-bdef-93368f32f0be" providerId="ADAL" clId="{0A78E1D9-DDE9-45BA-A19C-2917F7177A39}" dt="2023-12-12T15:17:06.381" v="2265" actId="313"/>
          <ac:spMkLst>
            <pc:docMk/>
            <pc:sldMk cId="3398652587" sldId="2147477671"/>
            <ac:spMk id="4" creationId="{7A195508-127D-CCE1-2576-0E7BD04EDF58}"/>
          </ac:spMkLst>
        </pc:spChg>
      </pc:sldChg>
      <pc:sldChg chg="modSp new mod">
        <pc:chgData name="Green, Joe" userId="eeb88818-a4bd-4ef4-bdef-93368f32f0be" providerId="ADAL" clId="{0A78E1D9-DDE9-45BA-A19C-2917F7177A39}" dt="2023-12-12T14:58:35.154" v="1657" actId="33524"/>
        <pc:sldMkLst>
          <pc:docMk/>
          <pc:sldMk cId="2004850091" sldId="2147477672"/>
        </pc:sldMkLst>
        <pc:spChg chg="mod">
          <ac:chgData name="Green, Joe" userId="eeb88818-a4bd-4ef4-bdef-93368f32f0be" providerId="ADAL" clId="{0A78E1D9-DDE9-45BA-A19C-2917F7177A39}" dt="2023-12-12T13:00:15.392" v="133" actId="20577"/>
          <ac:spMkLst>
            <pc:docMk/>
            <pc:sldMk cId="2004850091" sldId="2147477672"/>
            <ac:spMk id="2" creationId="{5A1046B3-4176-8D34-A051-93809247AA99}"/>
          </ac:spMkLst>
        </pc:spChg>
        <pc:spChg chg="mod">
          <ac:chgData name="Green, Joe" userId="eeb88818-a4bd-4ef4-bdef-93368f32f0be" providerId="ADAL" clId="{0A78E1D9-DDE9-45BA-A19C-2917F7177A39}" dt="2023-12-12T14:58:35.154" v="1657" actId="33524"/>
          <ac:spMkLst>
            <pc:docMk/>
            <pc:sldMk cId="2004850091" sldId="2147477672"/>
            <ac:spMk id="3" creationId="{FCCD340B-0677-521B-471B-715EF05E3AD1}"/>
          </ac:spMkLst>
        </pc:spChg>
      </pc:sldChg>
      <pc:sldChg chg="addSp delSp modSp new mod">
        <pc:chgData name="Green, Joe" userId="eeb88818-a4bd-4ef4-bdef-93368f32f0be" providerId="ADAL" clId="{0A78E1D9-DDE9-45BA-A19C-2917F7177A39}" dt="2023-12-12T14:31:04.481" v="1318" actId="20577"/>
        <pc:sldMkLst>
          <pc:docMk/>
          <pc:sldMk cId="1816592446" sldId="2147477673"/>
        </pc:sldMkLst>
        <pc:spChg chg="mod">
          <ac:chgData name="Green, Joe" userId="eeb88818-a4bd-4ef4-bdef-93368f32f0be" providerId="ADAL" clId="{0A78E1D9-DDE9-45BA-A19C-2917F7177A39}" dt="2023-12-12T14:24:05.059" v="670" actId="20577"/>
          <ac:spMkLst>
            <pc:docMk/>
            <pc:sldMk cId="1816592446" sldId="2147477673"/>
            <ac:spMk id="2" creationId="{8A8B070A-57E7-5C7A-DEF0-4E1953036F87}"/>
          </ac:spMkLst>
        </pc:spChg>
        <pc:spChg chg="mod">
          <ac:chgData name="Green, Joe" userId="eeb88818-a4bd-4ef4-bdef-93368f32f0be" providerId="ADAL" clId="{0A78E1D9-DDE9-45BA-A19C-2917F7177A39}" dt="2023-12-12T14:29:47.132" v="1182" actId="20577"/>
          <ac:spMkLst>
            <pc:docMk/>
            <pc:sldMk cId="1816592446" sldId="2147477673"/>
            <ac:spMk id="3" creationId="{37EF5521-81D3-C75D-CFAE-4E52B6F71040}"/>
          </ac:spMkLst>
        </pc:spChg>
        <pc:spChg chg="add mod">
          <ac:chgData name="Green, Joe" userId="eeb88818-a4bd-4ef4-bdef-93368f32f0be" providerId="ADAL" clId="{0A78E1D9-DDE9-45BA-A19C-2917F7177A39}" dt="2023-12-12T14:31:04.481" v="1318" actId="20577"/>
          <ac:spMkLst>
            <pc:docMk/>
            <pc:sldMk cId="1816592446" sldId="2147477673"/>
            <ac:spMk id="4" creationId="{B833224E-9AA8-8A08-ABDE-2D01A9B84B7C}"/>
          </ac:spMkLst>
        </pc:spChg>
        <pc:spChg chg="add del mod">
          <ac:chgData name="Green, Joe" userId="eeb88818-a4bd-4ef4-bdef-93368f32f0be" providerId="ADAL" clId="{0A78E1D9-DDE9-45BA-A19C-2917F7177A39}" dt="2023-12-12T14:28:49.419" v="1089"/>
          <ac:spMkLst>
            <pc:docMk/>
            <pc:sldMk cId="1816592446" sldId="2147477673"/>
            <ac:spMk id="5" creationId="{F1A30630-B369-74F1-B272-1AFD639697B8}"/>
          </ac:spMkLst>
        </pc:spChg>
      </pc:sldChg>
      <pc:sldChg chg="modSp new mod modShow">
        <pc:chgData name="Green, Joe" userId="eeb88818-a4bd-4ef4-bdef-93368f32f0be" providerId="ADAL" clId="{0A78E1D9-DDE9-45BA-A19C-2917F7177A39}" dt="2024-01-09T14:58:46.725" v="5499" actId="729"/>
        <pc:sldMkLst>
          <pc:docMk/>
          <pc:sldMk cId="1449928660" sldId="2147477674"/>
        </pc:sldMkLst>
        <pc:spChg chg="mod">
          <ac:chgData name="Green, Joe" userId="eeb88818-a4bd-4ef4-bdef-93368f32f0be" providerId="ADAL" clId="{0A78E1D9-DDE9-45BA-A19C-2917F7177A39}" dt="2023-12-12T13:03:31.872" v="348" actId="20577"/>
          <ac:spMkLst>
            <pc:docMk/>
            <pc:sldMk cId="1449928660" sldId="2147477674"/>
            <ac:spMk id="2" creationId="{403018D4-1980-FABD-06EA-F906DB696CAF}"/>
          </ac:spMkLst>
        </pc:spChg>
        <pc:spChg chg="mod">
          <ac:chgData name="Green, Joe" userId="eeb88818-a4bd-4ef4-bdef-93368f32f0be" providerId="ADAL" clId="{0A78E1D9-DDE9-45BA-A19C-2917F7177A39}" dt="2023-12-12T15:37:30.405" v="2322" actId="1076"/>
          <ac:spMkLst>
            <pc:docMk/>
            <pc:sldMk cId="1449928660" sldId="2147477674"/>
            <ac:spMk id="3" creationId="{F29F6057-CBFA-5A78-DBE3-0166C7C3A5FF}"/>
          </ac:spMkLst>
        </pc:spChg>
      </pc:sldChg>
      <pc:sldChg chg="addSp delSp modSp new mod">
        <pc:chgData name="Green, Joe" userId="eeb88818-a4bd-4ef4-bdef-93368f32f0be" providerId="ADAL" clId="{0A78E1D9-DDE9-45BA-A19C-2917F7177A39}" dt="2023-12-13T09:25:29.461" v="3633" actId="1076"/>
        <pc:sldMkLst>
          <pc:docMk/>
          <pc:sldMk cId="2061667332" sldId="2147477675"/>
        </pc:sldMkLst>
        <pc:spChg chg="mod">
          <ac:chgData name="Green, Joe" userId="eeb88818-a4bd-4ef4-bdef-93368f32f0be" providerId="ADAL" clId="{0A78E1D9-DDE9-45BA-A19C-2917F7177A39}" dt="2023-12-12T13:03:11.979" v="311" actId="20577"/>
          <ac:spMkLst>
            <pc:docMk/>
            <pc:sldMk cId="2061667332" sldId="2147477675"/>
            <ac:spMk id="2" creationId="{0BD5F5D9-296A-6955-AF04-09F68C577DAD}"/>
          </ac:spMkLst>
        </pc:spChg>
        <pc:spChg chg="mod">
          <ac:chgData name="Green, Joe" userId="eeb88818-a4bd-4ef4-bdef-93368f32f0be" providerId="ADAL" clId="{0A78E1D9-DDE9-45BA-A19C-2917F7177A39}" dt="2023-12-13T09:25:18.169" v="3629" actId="20577"/>
          <ac:spMkLst>
            <pc:docMk/>
            <pc:sldMk cId="2061667332" sldId="2147477675"/>
            <ac:spMk id="3" creationId="{D2AAF433-E67D-40AF-1DDC-BAC6B0FEB24A}"/>
          </ac:spMkLst>
        </pc:spChg>
        <pc:picChg chg="add mod">
          <ac:chgData name="Green, Joe" userId="eeb88818-a4bd-4ef4-bdef-93368f32f0be" providerId="ADAL" clId="{0A78E1D9-DDE9-45BA-A19C-2917F7177A39}" dt="2023-12-13T09:25:22.885" v="3630" actId="1076"/>
          <ac:picMkLst>
            <pc:docMk/>
            <pc:sldMk cId="2061667332" sldId="2147477675"/>
            <ac:picMk id="5" creationId="{76F6E39B-F954-C554-E45F-5448E8E8356A}"/>
          </ac:picMkLst>
        </pc:picChg>
        <pc:picChg chg="add del mod">
          <ac:chgData name="Green, Joe" userId="eeb88818-a4bd-4ef4-bdef-93368f32f0be" providerId="ADAL" clId="{0A78E1D9-DDE9-45BA-A19C-2917F7177A39}" dt="2023-12-13T09:22:50.421" v="3273" actId="478"/>
          <ac:picMkLst>
            <pc:docMk/>
            <pc:sldMk cId="2061667332" sldId="2147477675"/>
            <ac:picMk id="7" creationId="{B313D653-1307-4939-1820-06DCDF38B646}"/>
          </ac:picMkLst>
        </pc:picChg>
        <pc:picChg chg="add mod">
          <ac:chgData name="Green, Joe" userId="eeb88818-a4bd-4ef4-bdef-93368f32f0be" providerId="ADAL" clId="{0A78E1D9-DDE9-45BA-A19C-2917F7177A39}" dt="2023-12-13T09:25:29.461" v="3633" actId="1076"/>
          <ac:picMkLst>
            <pc:docMk/>
            <pc:sldMk cId="2061667332" sldId="2147477675"/>
            <ac:picMk id="1026" creationId="{40D6DF2D-4402-D347-5133-C2714D84BB90}"/>
          </ac:picMkLst>
        </pc:picChg>
      </pc:sldChg>
      <pc:sldChg chg="addSp modSp new mod">
        <pc:chgData name="Green, Joe" userId="eeb88818-a4bd-4ef4-bdef-93368f32f0be" providerId="ADAL" clId="{0A78E1D9-DDE9-45BA-A19C-2917F7177A39}" dt="2023-12-12T15:51:36.029" v="2340" actId="1076"/>
        <pc:sldMkLst>
          <pc:docMk/>
          <pc:sldMk cId="1754829383" sldId="2147477676"/>
        </pc:sldMkLst>
        <pc:spChg chg="mod">
          <ac:chgData name="Green, Joe" userId="eeb88818-a4bd-4ef4-bdef-93368f32f0be" providerId="ADAL" clId="{0A78E1D9-DDE9-45BA-A19C-2917F7177A39}" dt="2023-12-12T13:03:03.016" v="292" actId="20577"/>
          <ac:spMkLst>
            <pc:docMk/>
            <pc:sldMk cId="1754829383" sldId="2147477676"/>
            <ac:spMk id="2" creationId="{2C8E0C8B-E857-F904-3BED-E66272CCE846}"/>
          </ac:spMkLst>
        </pc:spChg>
        <pc:spChg chg="mod">
          <ac:chgData name="Green, Joe" userId="eeb88818-a4bd-4ef4-bdef-93368f32f0be" providerId="ADAL" clId="{0A78E1D9-DDE9-45BA-A19C-2917F7177A39}" dt="2023-12-12T15:51:30.282" v="2337" actId="27636"/>
          <ac:spMkLst>
            <pc:docMk/>
            <pc:sldMk cId="1754829383" sldId="2147477676"/>
            <ac:spMk id="3" creationId="{0C268CB7-A6A2-1CE6-4818-F8C7C72948D1}"/>
          </ac:spMkLst>
        </pc:spChg>
        <pc:picChg chg="add mod">
          <ac:chgData name="Green, Joe" userId="eeb88818-a4bd-4ef4-bdef-93368f32f0be" providerId="ADAL" clId="{0A78E1D9-DDE9-45BA-A19C-2917F7177A39}" dt="2023-12-12T15:51:36.029" v="2340" actId="1076"/>
          <ac:picMkLst>
            <pc:docMk/>
            <pc:sldMk cId="1754829383" sldId="2147477676"/>
            <ac:picMk id="4" creationId="{A0C06652-B0EC-0AF7-74BB-8EB87E180E59}"/>
          </ac:picMkLst>
        </pc:picChg>
      </pc:sldChg>
      <pc:sldChg chg="modSp new del mod">
        <pc:chgData name="Green, Joe" userId="eeb88818-a4bd-4ef4-bdef-93368f32f0be" providerId="ADAL" clId="{0A78E1D9-DDE9-45BA-A19C-2917F7177A39}" dt="2023-12-12T14:32:14.775" v="1320" actId="47"/>
        <pc:sldMkLst>
          <pc:docMk/>
          <pc:sldMk cId="2386821406" sldId="2147477677"/>
        </pc:sldMkLst>
        <pc:spChg chg="mod">
          <ac:chgData name="Green, Joe" userId="eeb88818-a4bd-4ef4-bdef-93368f32f0be" providerId="ADAL" clId="{0A78E1D9-DDE9-45BA-A19C-2917F7177A39}" dt="2023-12-12T13:02:22.204" v="238" actId="20577"/>
          <ac:spMkLst>
            <pc:docMk/>
            <pc:sldMk cId="2386821406" sldId="2147477677"/>
            <ac:spMk id="2" creationId="{EC195B0E-3770-791A-1FEE-E737B5D5EF53}"/>
          </ac:spMkLst>
        </pc:spChg>
      </pc:sldChg>
      <pc:sldChg chg="modSp new del mod">
        <pc:chgData name="Green, Joe" userId="eeb88818-a4bd-4ef4-bdef-93368f32f0be" providerId="ADAL" clId="{0A78E1D9-DDE9-45BA-A19C-2917F7177A39}" dt="2023-12-12T14:32:16.515" v="1321" actId="47"/>
        <pc:sldMkLst>
          <pc:docMk/>
          <pc:sldMk cId="3300237021" sldId="2147477678"/>
        </pc:sldMkLst>
        <pc:spChg chg="mod">
          <ac:chgData name="Green, Joe" userId="eeb88818-a4bd-4ef4-bdef-93368f32f0be" providerId="ADAL" clId="{0A78E1D9-DDE9-45BA-A19C-2917F7177A39}" dt="2023-12-12T13:02:15.968" v="220" actId="20577"/>
          <ac:spMkLst>
            <pc:docMk/>
            <pc:sldMk cId="3300237021" sldId="2147477678"/>
            <ac:spMk id="2" creationId="{B66BD61E-C090-8398-973E-CE9AE34D30C1}"/>
          </ac:spMkLst>
        </pc:spChg>
      </pc:sldChg>
      <pc:sldChg chg="modSp new mod">
        <pc:chgData name="Green, Joe" userId="eeb88818-a4bd-4ef4-bdef-93368f32f0be" providerId="ADAL" clId="{0A78E1D9-DDE9-45BA-A19C-2917F7177A39}" dt="2023-12-12T15:57:08.854" v="2347" actId="255"/>
        <pc:sldMkLst>
          <pc:docMk/>
          <pc:sldMk cId="2205866323" sldId="2147477679"/>
        </pc:sldMkLst>
        <pc:spChg chg="mod">
          <ac:chgData name="Green, Joe" userId="eeb88818-a4bd-4ef4-bdef-93368f32f0be" providerId="ADAL" clId="{0A78E1D9-DDE9-45BA-A19C-2917F7177A39}" dt="2023-12-12T13:03:49.533" v="359" actId="20577"/>
          <ac:spMkLst>
            <pc:docMk/>
            <pc:sldMk cId="2205866323" sldId="2147477679"/>
            <ac:spMk id="2" creationId="{7DD31233-5BCA-6C74-9098-2B1CC1CF72B8}"/>
          </ac:spMkLst>
        </pc:spChg>
        <pc:spChg chg="mod">
          <ac:chgData name="Green, Joe" userId="eeb88818-a4bd-4ef4-bdef-93368f32f0be" providerId="ADAL" clId="{0A78E1D9-DDE9-45BA-A19C-2917F7177A39}" dt="2023-12-12T15:57:08.854" v="2347" actId="255"/>
          <ac:spMkLst>
            <pc:docMk/>
            <pc:sldMk cId="2205866323" sldId="2147477679"/>
            <ac:spMk id="3" creationId="{B3C073AF-469A-DCD1-E0EE-DE461D6AC3D3}"/>
          </ac:spMkLst>
        </pc:spChg>
      </pc:sldChg>
      <pc:sldChg chg="addSp modSp new mod setBg">
        <pc:chgData name="Green, Joe" userId="eeb88818-a4bd-4ef4-bdef-93368f32f0be" providerId="ADAL" clId="{0A78E1D9-DDE9-45BA-A19C-2917F7177A39}" dt="2023-12-13T09:39:45.577" v="4314" actId="1076"/>
        <pc:sldMkLst>
          <pc:docMk/>
          <pc:sldMk cId="3496027436" sldId="2147477680"/>
        </pc:sldMkLst>
        <pc:spChg chg="mod">
          <ac:chgData name="Green, Joe" userId="eeb88818-a4bd-4ef4-bdef-93368f32f0be" providerId="ADAL" clId="{0A78E1D9-DDE9-45BA-A19C-2917F7177A39}" dt="2023-12-13T09:25:32.458" v="3634"/>
          <ac:spMkLst>
            <pc:docMk/>
            <pc:sldMk cId="3496027436" sldId="2147477680"/>
            <ac:spMk id="2" creationId="{F902EF16-FE6A-1D48-D957-78DF71CEAAFA}"/>
          </ac:spMkLst>
        </pc:spChg>
        <pc:spChg chg="mod">
          <ac:chgData name="Green, Joe" userId="eeb88818-a4bd-4ef4-bdef-93368f32f0be" providerId="ADAL" clId="{0A78E1D9-DDE9-45BA-A19C-2917F7177A39}" dt="2023-12-13T09:39:45.577" v="4314" actId="1076"/>
          <ac:spMkLst>
            <pc:docMk/>
            <pc:sldMk cId="3496027436" sldId="2147477680"/>
            <ac:spMk id="3" creationId="{00799E5C-3A13-EBC3-73F1-F500CE4FB1AF}"/>
          </ac:spMkLst>
        </pc:spChg>
        <pc:picChg chg="add mod">
          <ac:chgData name="Green, Joe" userId="eeb88818-a4bd-4ef4-bdef-93368f32f0be" providerId="ADAL" clId="{0A78E1D9-DDE9-45BA-A19C-2917F7177A39}" dt="2023-12-13T09:35:42.945" v="3637" actId="1076"/>
          <ac:picMkLst>
            <pc:docMk/>
            <pc:sldMk cId="3496027436" sldId="2147477680"/>
            <ac:picMk id="5" creationId="{47B848B0-4D17-D4AB-EBFF-9D0489451551}"/>
          </ac:picMkLst>
        </pc:picChg>
      </pc:sldChg>
      <pc:sldChg chg="modSp new mod">
        <pc:chgData name="Green, Joe" userId="eeb88818-a4bd-4ef4-bdef-93368f32f0be" providerId="ADAL" clId="{0A78E1D9-DDE9-45BA-A19C-2917F7177A39}" dt="2023-12-13T08:36:38.088" v="3261" actId="27636"/>
        <pc:sldMkLst>
          <pc:docMk/>
          <pc:sldMk cId="2885513087" sldId="2147477681"/>
        </pc:sldMkLst>
        <pc:spChg chg="mod">
          <ac:chgData name="Green, Joe" userId="eeb88818-a4bd-4ef4-bdef-93368f32f0be" providerId="ADAL" clId="{0A78E1D9-DDE9-45BA-A19C-2917F7177A39}" dt="2023-12-12T13:04:15.332" v="423" actId="20577"/>
          <ac:spMkLst>
            <pc:docMk/>
            <pc:sldMk cId="2885513087" sldId="2147477681"/>
            <ac:spMk id="2" creationId="{F0ADBF82-0B18-5034-902D-390352213E30}"/>
          </ac:spMkLst>
        </pc:spChg>
        <pc:spChg chg="mod">
          <ac:chgData name="Green, Joe" userId="eeb88818-a4bd-4ef4-bdef-93368f32f0be" providerId="ADAL" clId="{0A78E1D9-DDE9-45BA-A19C-2917F7177A39}" dt="2023-12-13T08:36:38.088" v="3261" actId="27636"/>
          <ac:spMkLst>
            <pc:docMk/>
            <pc:sldMk cId="2885513087" sldId="2147477681"/>
            <ac:spMk id="3" creationId="{E9214D1A-5847-F54B-1857-E234DF947FF7}"/>
          </ac:spMkLst>
        </pc:spChg>
      </pc:sldChg>
      <pc:sldChg chg="add del">
        <pc:chgData name="Green, Joe" userId="eeb88818-a4bd-4ef4-bdef-93368f32f0be" providerId="ADAL" clId="{0A78E1D9-DDE9-45BA-A19C-2917F7177A39}" dt="2023-12-12T14:25:13.044" v="700" actId="47"/>
        <pc:sldMkLst>
          <pc:docMk/>
          <pc:sldMk cId="1076112082" sldId="2147477682"/>
        </pc:sldMkLst>
      </pc:sldChg>
      <pc:sldChg chg="addSp modSp new">
        <pc:chgData name="Green, Joe" userId="eeb88818-a4bd-4ef4-bdef-93368f32f0be" providerId="ADAL" clId="{0A78E1D9-DDE9-45BA-A19C-2917F7177A39}" dt="2023-12-12T14:42:46.422" v="1330" actId="1076"/>
        <pc:sldMkLst>
          <pc:docMk/>
          <pc:sldMk cId="4159378235" sldId="2147477682"/>
        </pc:sldMkLst>
        <pc:picChg chg="add mod">
          <ac:chgData name="Green, Joe" userId="eeb88818-a4bd-4ef4-bdef-93368f32f0be" providerId="ADAL" clId="{0A78E1D9-DDE9-45BA-A19C-2917F7177A39}" dt="2023-12-12T14:42:46.422" v="1330" actId="1076"/>
          <ac:picMkLst>
            <pc:docMk/>
            <pc:sldMk cId="4159378235" sldId="2147477682"/>
            <ac:picMk id="1026" creationId="{A27E6D74-AB48-0B2F-FAEC-E12E5518A353}"/>
          </ac:picMkLst>
        </pc:picChg>
      </pc:sldChg>
      <pc:sldChg chg="addSp delSp modSp new mod">
        <pc:chgData name="Green, Joe" userId="eeb88818-a4bd-4ef4-bdef-93368f32f0be" providerId="ADAL" clId="{0A78E1D9-DDE9-45BA-A19C-2917F7177A39}" dt="2023-12-12T15:23:11.046" v="2275" actId="1076"/>
        <pc:sldMkLst>
          <pc:docMk/>
          <pc:sldMk cId="2232357808" sldId="2147477684"/>
        </pc:sldMkLst>
        <pc:picChg chg="add del mod">
          <ac:chgData name="Green, Joe" userId="eeb88818-a4bd-4ef4-bdef-93368f32f0be" providerId="ADAL" clId="{0A78E1D9-DDE9-45BA-A19C-2917F7177A39}" dt="2023-12-12T15:23:04.955" v="2272" actId="478"/>
          <ac:picMkLst>
            <pc:docMk/>
            <pc:sldMk cId="2232357808" sldId="2147477684"/>
            <ac:picMk id="3" creationId="{EF1DBC9F-E1A3-2A0C-7E50-DEDC75E82C78}"/>
          </ac:picMkLst>
        </pc:picChg>
        <pc:picChg chg="add mod">
          <ac:chgData name="Green, Joe" userId="eeb88818-a4bd-4ef4-bdef-93368f32f0be" providerId="ADAL" clId="{0A78E1D9-DDE9-45BA-A19C-2917F7177A39}" dt="2023-12-12T15:23:11.046" v="2275" actId="1076"/>
          <ac:picMkLst>
            <pc:docMk/>
            <pc:sldMk cId="2232357808" sldId="2147477684"/>
            <ac:picMk id="5" creationId="{3420E7EC-C430-A9A3-6D62-C73DA34A7946}"/>
          </ac:picMkLst>
        </pc:picChg>
      </pc:sldChg>
      <pc:sldChg chg="addSp delSp modSp new mod modAnim">
        <pc:chgData name="Green, Joe" userId="eeb88818-a4bd-4ef4-bdef-93368f32f0be" providerId="ADAL" clId="{0A78E1D9-DDE9-45BA-A19C-2917F7177A39}" dt="2024-01-09T08:58:24.603" v="5294" actId="20577"/>
        <pc:sldMkLst>
          <pc:docMk/>
          <pc:sldMk cId="3760384971" sldId="2147477685"/>
        </pc:sldMkLst>
        <pc:spChg chg="mod">
          <ac:chgData name="Green, Joe" userId="eeb88818-a4bd-4ef4-bdef-93368f32f0be" providerId="ADAL" clId="{0A78E1D9-DDE9-45BA-A19C-2917F7177A39}" dt="2024-01-09T08:49:04.792" v="5069" actId="20577"/>
          <ac:spMkLst>
            <pc:docMk/>
            <pc:sldMk cId="3760384971" sldId="2147477685"/>
            <ac:spMk id="2" creationId="{6E743AD1-EE01-B391-63A5-88D251070E29}"/>
          </ac:spMkLst>
        </pc:spChg>
        <pc:spChg chg="add mod">
          <ac:chgData name="Green, Joe" userId="eeb88818-a4bd-4ef4-bdef-93368f32f0be" providerId="ADAL" clId="{0A78E1D9-DDE9-45BA-A19C-2917F7177A39}" dt="2024-01-09T08:58:24.603" v="5294" actId="20577"/>
          <ac:spMkLst>
            <pc:docMk/>
            <pc:sldMk cId="3760384971" sldId="2147477685"/>
            <ac:spMk id="4" creationId="{EFE89C79-1916-6619-9E90-F81E57CEFC81}"/>
          </ac:spMkLst>
        </pc:spChg>
        <pc:picChg chg="add del mod">
          <ac:chgData name="Green, Joe" userId="eeb88818-a4bd-4ef4-bdef-93368f32f0be" providerId="ADAL" clId="{0A78E1D9-DDE9-45BA-A19C-2917F7177A39}" dt="2024-01-09T08:49:15.154" v="5071" actId="478"/>
          <ac:picMkLst>
            <pc:docMk/>
            <pc:sldMk cId="3760384971" sldId="2147477685"/>
            <ac:picMk id="3" creationId="{9ED79BF4-E3C0-6747-2471-BBEBD5EBED56}"/>
          </ac:picMkLst>
        </pc:picChg>
        <pc:picChg chg="add mod">
          <ac:chgData name="Green, Joe" userId="eeb88818-a4bd-4ef4-bdef-93368f32f0be" providerId="ADAL" clId="{0A78E1D9-DDE9-45BA-A19C-2917F7177A39}" dt="2023-12-12T15:26:21.575" v="2280" actId="1076"/>
          <ac:picMkLst>
            <pc:docMk/>
            <pc:sldMk cId="3760384971" sldId="2147477685"/>
            <ac:picMk id="3" creationId="{C97057BD-1341-5F52-0CE7-3AB10663B790}"/>
          </ac:picMkLst>
        </pc:picChg>
        <pc:picChg chg="mod">
          <ac:chgData name="Green, Joe" userId="eeb88818-a4bd-4ef4-bdef-93368f32f0be" providerId="ADAL" clId="{0A78E1D9-DDE9-45BA-A19C-2917F7177A39}" dt="2024-01-09T08:48:50.758" v="5029" actId="1076"/>
          <ac:picMkLst>
            <pc:docMk/>
            <pc:sldMk cId="3760384971" sldId="2147477685"/>
            <ac:picMk id="6" creationId="{7E6E466A-090D-687D-17AB-EF322A4D19E9}"/>
          </ac:picMkLst>
        </pc:picChg>
      </pc:sldChg>
      <pc:sldChg chg="ord">
        <pc:chgData name="Green, Joe" userId="eeb88818-a4bd-4ef4-bdef-93368f32f0be" providerId="ADAL" clId="{0A78E1D9-DDE9-45BA-A19C-2917F7177A39}" dt="2024-01-09T12:52:36.258" v="5453"/>
        <pc:sldMkLst>
          <pc:docMk/>
          <pc:sldMk cId="2647266761" sldId="2147477687"/>
        </pc:sldMkLst>
      </pc:sldChg>
      <pc:sldChg chg="modSp mod">
        <pc:chgData name="Green, Joe" userId="eeb88818-a4bd-4ef4-bdef-93368f32f0be" providerId="ADAL" clId="{0A78E1D9-DDE9-45BA-A19C-2917F7177A39}" dt="2024-01-09T12:53:08.126" v="5490" actId="20577"/>
        <pc:sldMkLst>
          <pc:docMk/>
          <pc:sldMk cId="2237394439" sldId="2147477689"/>
        </pc:sldMkLst>
        <pc:spChg chg="mod">
          <ac:chgData name="Green, Joe" userId="eeb88818-a4bd-4ef4-bdef-93368f32f0be" providerId="ADAL" clId="{0A78E1D9-DDE9-45BA-A19C-2917F7177A39}" dt="2024-01-09T12:53:08.126" v="5490" actId="20577"/>
          <ac:spMkLst>
            <pc:docMk/>
            <pc:sldMk cId="2237394439" sldId="2147477689"/>
            <ac:spMk id="9" creationId="{A10E0D48-BE8C-45D6-9CA6-A53F59075525}"/>
          </ac:spMkLst>
        </pc:spChg>
      </pc:sldChg>
      <pc:sldChg chg="addSp modSp new mod modAnim">
        <pc:chgData name="Green, Joe" userId="eeb88818-a4bd-4ef4-bdef-93368f32f0be" providerId="ADAL" clId="{0A78E1D9-DDE9-45BA-A19C-2917F7177A39}" dt="2024-01-09T08:57:15.877" v="5245"/>
        <pc:sldMkLst>
          <pc:docMk/>
          <pc:sldMk cId="2280311724" sldId="2147477699"/>
        </pc:sldMkLst>
        <pc:spChg chg="mod">
          <ac:chgData name="Green, Joe" userId="eeb88818-a4bd-4ef4-bdef-93368f32f0be" providerId="ADAL" clId="{0A78E1D9-DDE9-45BA-A19C-2917F7177A39}" dt="2024-01-09T08:34:42.699" v="4693" actId="20577"/>
          <ac:spMkLst>
            <pc:docMk/>
            <pc:sldMk cId="2280311724" sldId="2147477699"/>
            <ac:spMk id="2" creationId="{FD882E40-48CE-CA38-2A8E-F41D01F519B1}"/>
          </ac:spMkLst>
        </pc:spChg>
        <pc:spChg chg="add mod">
          <ac:chgData name="Green, Joe" userId="eeb88818-a4bd-4ef4-bdef-93368f32f0be" providerId="ADAL" clId="{0A78E1D9-DDE9-45BA-A19C-2917F7177A39}" dt="2024-01-08T16:35:44.465" v="4352" actId="164"/>
          <ac:spMkLst>
            <pc:docMk/>
            <pc:sldMk cId="2280311724" sldId="2147477699"/>
            <ac:spMk id="5" creationId="{A4D202BF-C40D-35C6-E5A2-B95C12A3DFF8}"/>
          </ac:spMkLst>
        </pc:spChg>
        <pc:spChg chg="add mod">
          <ac:chgData name="Green, Joe" userId="eeb88818-a4bd-4ef4-bdef-93368f32f0be" providerId="ADAL" clId="{0A78E1D9-DDE9-45BA-A19C-2917F7177A39}" dt="2024-01-09T08:39:56.361" v="5026" actId="20577"/>
          <ac:spMkLst>
            <pc:docMk/>
            <pc:sldMk cId="2280311724" sldId="2147477699"/>
            <ac:spMk id="7" creationId="{3D299BAB-11B4-E391-DAA5-6716B6304DA0}"/>
          </ac:spMkLst>
        </pc:spChg>
        <pc:grpChg chg="add mod">
          <ac:chgData name="Green, Joe" userId="eeb88818-a4bd-4ef4-bdef-93368f32f0be" providerId="ADAL" clId="{0A78E1D9-DDE9-45BA-A19C-2917F7177A39}" dt="2024-01-09T08:35:54.662" v="4697" actId="1076"/>
          <ac:grpSpMkLst>
            <pc:docMk/>
            <pc:sldMk cId="2280311724" sldId="2147477699"/>
            <ac:grpSpMk id="6" creationId="{1D053714-17A6-2C21-1314-6282811F7646}"/>
          </ac:grpSpMkLst>
        </pc:grpChg>
        <pc:picChg chg="add mod">
          <ac:chgData name="Green, Joe" userId="eeb88818-a4bd-4ef4-bdef-93368f32f0be" providerId="ADAL" clId="{0A78E1D9-DDE9-45BA-A19C-2917F7177A39}" dt="2024-01-08T16:35:44.465" v="4352" actId="164"/>
          <ac:picMkLst>
            <pc:docMk/>
            <pc:sldMk cId="2280311724" sldId="2147477699"/>
            <ac:picMk id="4" creationId="{BE5DCED4-48BC-7C70-109B-A3D66F0B1C61}"/>
          </ac:picMkLst>
        </pc:picChg>
      </pc:sldChg>
      <pc:sldChg chg="addSp modSp new mod modAnim">
        <pc:chgData name="Green, Joe" userId="eeb88818-a4bd-4ef4-bdef-93368f32f0be" providerId="ADAL" clId="{0A78E1D9-DDE9-45BA-A19C-2917F7177A39}" dt="2024-01-09T08:57:25.416" v="5246"/>
        <pc:sldMkLst>
          <pc:docMk/>
          <pc:sldMk cId="4141647465" sldId="2147477700"/>
        </pc:sldMkLst>
        <pc:spChg chg="mod">
          <ac:chgData name="Green, Joe" userId="eeb88818-a4bd-4ef4-bdef-93368f32f0be" providerId="ADAL" clId="{0A78E1D9-DDE9-45BA-A19C-2917F7177A39}" dt="2024-01-09T08:34:51.488" v="4694"/>
          <ac:spMkLst>
            <pc:docMk/>
            <pc:sldMk cId="4141647465" sldId="2147477700"/>
            <ac:spMk id="2" creationId="{1589651A-1287-625D-E685-83C6814C4E28}"/>
          </ac:spMkLst>
        </pc:spChg>
        <pc:spChg chg="add mod">
          <ac:chgData name="Green, Joe" userId="eeb88818-a4bd-4ef4-bdef-93368f32f0be" providerId="ADAL" clId="{0A78E1D9-DDE9-45BA-A19C-2917F7177A39}" dt="2024-01-09T08:37:19.018" v="4828" actId="20577"/>
          <ac:spMkLst>
            <pc:docMk/>
            <pc:sldMk cId="4141647465" sldId="2147477700"/>
            <ac:spMk id="5" creationId="{E967948D-5306-E194-0E85-AA353144D42D}"/>
          </ac:spMkLst>
        </pc:spChg>
        <pc:spChg chg="add mod">
          <ac:chgData name="Green, Joe" userId="eeb88818-a4bd-4ef4-bdef-93368f32f0be" providerId="ADAL" clId="{0A78E1D9-DDE9-45BA-A19C-2917F7177A39}" dt="2024-01-09T08:30:18.885" v="4370" actId="1076"/>
          <ac:spMkLst>
            <pc:docMk/>
            <pc:sldMk cId="4141647465" sldId="2147477700"/>
            <ac:spMk id="6" creationId="{DF4FDDC1-D53A-A84B-F49D-BBDFFEF1614E}"/>
          </ac:spMkLst>
        </pc:spChg>
        <pc:picChg chg="add mod">
          <ac:chgData name="Green, Joe" userId="eeb88818-a4bd-4ef4-bdef-93368f32f0be" providerId="ADAL" clId="{0A78E1D9-DDE9-45BA-A19C-2917F7177A39}" dt="2024-01-09T08:29:08.317" v="4368" actId="1076"/>
          <ac:picMkLst>
            <pc:docMk/>
            <pc:sldMk cId="4141647465" sldId="2147477700"/>
            <ac:picMk id="4" creationId="{9FD29EA8-1452-A9E0-F209-CB2C4FCC4173}"/>
          </ac:picMkLst>
        </pc:picChg>
      </pc:sldChg>
      <pc:sldChg chg="addSp modSp new mod">
        <pc:chgData name="Green, Joe" userId="eeb88818-a4bd-4ef4-bdef-93368f32f0be" providerId="ADAL" clId="{0A78E1D9-DDE9-45BA-A19C-2917F7177A39}" dt="2024-01-09T12:34:32.580" v="5352" actId="20577"/>
        <pc:sldMkLst>
          <pc:docMk/>
          <pc:sldMk cId="1688983734" sldId="2147477702"/>
        </pc:sldMkLst>
        <pc:spChg chg="mod">
          <ac:chgData name="Green, Joe" userId="eeb88818-a4bd-4ef4-bdef-93368f32f0be" providerId="ADAL" clId="{0A78E1D9-DDE9-45BA-A19C-2917F7177A39}" dt="2024-01-09T12:34:32.580" v="5352" actId="20577"/>
          <ac:spMkLst>
            <pc:docMk/>
            <pc:sldMk cId="1688983734" sldId="2147477702"/>
            <ac:spMk id="2" creationId="{E99CF815-A683-8B2B-9414-50D73498589E}"/>
          </ac:spMkLst>
        </pc:spChg>
        <pc:picChg chg="add mod">
          <ac:chgData name="Green, Joe" userId="eeb88818-a4bd-4ef4-bdef-93368f32f0be" providerId="ADAL" clId="{0A78E1D9-DDE9-45BA-A19C-2917F7177A39}" dt="2024-01-09T12:33:59.413" v="5304" actId="1076"/>
          <ac:picMkLst>
            <pc:docMk/>
            <pc:sldMk cId="1688983734" sldId="2147477702"/>
            <ac:picMk id="1026" creationId="{B667C6C0-66D5-1E3D-EB0F-168067D81DAF}"/>
          </ac:picMkLst>
        </pc:picChg>
      </pc:sldChg>
      <pc:sldChg chg="addSp delSp modSp new mod ord">
        <pc:chgData name="Green, Joe" userId="eeb88818-a4bd-4ef4-bdef-93368f32f0be" providerId="ADAL" clId="{0A78E1D9-DDE9-45BA-A19C-2917F7177A39}" dt="2024-01-09T12:49:32.337" v="5430" actId="14100"/>
        <pc:sldMkLst>
          <pc:docMk/>
          <pc:sldMk cId="3387723410" sldId="2147477703"/>
        </pc:sldMkLst>
        <pc:spChg chg="del">
          <ac:chgData name="Green, Joe" userId="eeb88818-a4bd-4ef4-bdef-93368f32f0be" providerId="ADAL" clId="{0A78E1D9-DDE9-45BA-A19C-2917F7177A39}" dt="2024-01-09T12:49:28.790" v="5429" actId="478"/>
          <ac:spMkLst>
            <pc:docMk/>
            <pc:sldMk cId="3387723410" sldId="2147477703"/>
            <ac:spMk id="2" creationId="{6A141248-B383-5D90-7EED-B7504494871E}"/>
          </ac:spMkLst>
        </pc:spChg>
        <pc:picChg chg="add mod">
          <ac:chgData name="Green, Joe" userId="eeb88818-a4bd-4ef4-bdef-93368f32f0be" providerId="ADAL" clId="{0A78E1D9-DDE9-45BA-A19C-2917F7177A39}" dt="2024-01-09T12:49:32.337" v="5430" actId="14100"/>
          <ac:picMkLst>
            <pc:docMk/>
            <pc:sldMk cId="3387723410" sldId="2147477703"/>
            <ac:picMk id="4" creationId="{06359925-A663-D81C-F96F-9CDFEA76CDCC}"/>
          </ac:picMkLst>
        </pc:picChg>
      </pc:sldChg>
      <pc:sldChg chg="addSp modSp new mod">
        <pc:chgData name="Green, Joe" userId="eeb88818-a4bd-4ef4-bdef-93368f32f0be" providerId="ADAL" clId="{0A78E1D9-DDE9-45BA-A19C-2917F7177A39}" dt="2024-01-09T14:39:14.516" v="5498" actId="14100"/>
        <pc:sldMkLst>
          <pc:docMk/>
          <pc:sldMk cId="3695932627" sldId="2147477704"/>
        </pc:sldMkLst>
        <pc:spChg chg="mod">
          <ac:chgData name="Green, Joe" userId="eeb88818-a4bd-4ef4-bdef-93368f32f0be" providerId="ADAL" clId="{0A78E1D9-DDE9-45BA-A19C-2917F7177A39}" dt="2024-01-09T12:51:52.628" v="5451" actId="20577"/>
          <ac:spMkLst>
            <pc:docMk/>
            <pc:sldMk cId="3695932627" sldId="2147477704"/>
            <ac:spMk id="2" creationId="{0A4DA272-7AD5-C73A-268E-1A4236CF193B}"/>
          </ac:spMkLst>
        </pc:spChg>
        <pc:spChg chg="add mod">
          <ac:chgData name="Green, Joe" userId="eeb88818-a4bd-4ef4-bdef-93368f32f0be" providerId="ADAL" clId="{0A78E1D9-DDE9-45BA-A19C-2917F7177A39}" dt="2024-01-09T14:38:48.697" v="5492" actId="20577"/>
          <ac:spMkLst>
            <pc:docMk/>
            <pc:sldMk cId="3695932627" sldId="2147477704"/>
            <ac:spMk id="4" creationId="{A7B23164-D45D-7BC5-6852-FFB26ABCFEF3}"/>
          </ac:spMkLst>
        </pc:spChg>
        <pc:spChg chg="add mod">
          <ac:chgData name="Green, Joe" userId="eeb88818-a4bd-4ef4-bdef-93368f32f0be" providerId="ADAL" clId="{0A78E1D9-DDE9-45BA-A19C-2917F7177A39}" dt="2024-01-09T14:39:14.516" v="5498" actId="14100"/>
          <ac:spMkLst>
            <pc:docMk/>
            <pc:sldMk cId="3695932627" sldId="2147477704"/>
            <ac:spMk id="6" creationId="{A4BCFF11-7819-2E16-BDE0-F7311EEDBE56}"/>
          </ac:spMkLst>
        </pc:spChg>
      </pc:sldChg>
    </pc:docChg>
  </pc:docChgLst>
  <pc:docChgLst>
    <pc:chgData name="Green, Marcus" userId="30bed584-a595-42a2-9e97-835b8ce0a3d0" providerId="ADAL" clId="{BA34F325-CCBC-4CE7-BE63-197ABCCC171D}"/>
    <pc:docChg chg="undo custSel delSld modSld sldOrd">
      <pc:chgData name="Green, Marcus" userId="30bed584-a595-42a2-9e97-835b8ce0a3d0" providerId="ADAL" clId="{BA34F325-CCBC-4CE7-BE63-197ABCCC171D}" dt="2024-01-09T10:34:34.665" v="1487" actId="47"/>
      <pc:docMkLst>
        <pc:docMk/>
      </pc:docMkLst>
      <pc:sldChg chg="modSp mod">
        <pc:chgData name="Green, Marcus" userId="30bed584-a595-42a2-9e97-835b8ce0a3d0" providerId="ADAL" clId="{BA34F325-CCBC-4CE7-BE63-197ABCCC171D}" dt="2024-01-02T16:26:43.405" v="192" actId="108"/>
        <pc:sldMkLst>
          <pc:docMk/>
          <pc:sldMk cId="235451164" sldId="416"/>
        </pc:sldMkLst>
        <pc:spChg chg="mod">
          <ac:chgData name="Green, Marcus" userId="30bed584-a595-42a2-9e97-835b8ce0a3d0" providerId="ADAL" clId="{BA34F325-CCBC-4CE7-BE63-197ABCCC171D}" dt="2024-01-02T16:26:43.405" v="192" actId="108"/>
          <ac:spMkLst>
            <pc:docMk/>
            <pc:sldMk cId="235451164" sldId="416"/>
            <ac:spMk id="5" creationId="{2743396C-2BE2-2498-9102-C5C7D82AC891}"/>
          </ac:spMkLst>
        </pc:spChg>
      </pc:sldChg>
      <pc:sldChg chg="modSp mod">
        <pc:chgData name="Green, Marcus" userId="30bed584-a595-42a2-9e97-835b8ce0a3d0" providerId="ADAL" clId="{BA34F325-CCBC-4CE7-BE63-197ABCCC171D}" dt="2024-01-08T17:10:55.009" v="1297" actId="20577"/>
        <pc:sldMkLst>
          <pc:docMk/>
          <pc:sldMk cId="2715426064" sldId="424"/>
        </pc:sldMkLst>
        <pc:spChg chg="mod">
          <ac:chgData name="Green, Marcus" userId="30bed584-a595-42a2-9e97-835b8ce0a3d0" providerId="ADAL" clId="{BA34F325-CCBC-4CE7-BE63-197ABCCC171D}" dt="2024-01-08T17:10:55.009" v="1297" actId="20577"/>
          <ac:spMkLst>
            <pc:docMk/>
            <pc:sldMk cId="2715426064" sldId="424"/>
            <ac:spMk id="8" creationId="{73651188-2DC1-F390-1BA4-543F21B80D53}"/>
          </ac:spMkLst>
        </pc:spChg>
      </pc:sldChg>
      <pc:sldChg chg="modSp mod">
        <pc:chgData name="Green, Marcus" userId="30bed584-a595-42a2-9e97-835b8ce0a3d0" providerId="ADAL" clId="{BA34F325-CCBC-4CE7-BE63-197ABCCC171D}" dt="2024-01-08T17:15:34.249" v="1298" actId="20577"/>
        <pc:sldMkLst>
          <pc:docMk/>
          <pc:sldMk cId="3303413383" sldId="425"/>
        </pc:sldMkLst>
        <pc:spChg chg="mod">
          <ac:chgData name="Green, Marcus" userId="30bed584-a595-42a2-9e97-835b8ce0a3d0" providerId="ADAL" clId="{BA34F325-CCBC-4CE7-BE63-197ABCCC171D}" dt="2024-01-08T17:15:34.249" v="1298" actId="20577"/>
          <ac:spMkLst>
            <pc:docMk/>
            <pc:sldMk cId="3303413383" sldId="425"/>
            <ac:spMk id="12" creationId="{FE8D1C87-A069-B3CF-58A4-3C4536D41438}"/>
          </ac:spMkLst>
        </pc:spChg>
      </pc:sldChg>
      <pc:sldChg chg="mod modShow">
        <pc:chgData name="Green, Marcus" userId="30bed584-a595-42a2-9e97-835b8ce0a3d0" providerId="ADAL" clId="{BA34F325-CCBC-4CE7-BE63-197ABCCC171D}" dt="2024-01-04T09:25:13.465" v="682" actId="729"/>
        <pc:sldMkLst>
          <pc:docMk/>
          <pc:sldMk cId="3245313624" sldId="432"/>
        </pc:sldMkLst>
      </pc:sldChg>
      <pc:sldChg chg="ord">
        <pc:chgData name="Green, Marcus" userId="30bed584-a595-42a2-9e97-835b8ce0a3d0" providerId="ADAL" clId="{BA34F325-CCBC-4CE7-BE63-197ABCCC171D}" dt="2024-01-08T22:07:30.166" v="1476"/>
        <pc:sldMkLst>
          <pc:docMk/>
          <pc:sldMk cId="348958871" sldId="433"/>
        </pc:sldMkLst>
      </pc:sldChg>
      <pc:sldChg chg="ord">
        <pc:chgData name="Green, Marcus" userId="30bed584-a595-42a2-9e97-835b8ce0a3d0" providerId="ADAL" clId="{BA34F325-CCBC-4CE7-BE63-197ABCCC171D}" dt="2024-01-08T22:07:30.166" v="1476"/>
        <pc:sldMkLst>
          <pc:docMk/>
          <pc:sldMk cId="1136990364" sldId="434"/>
        </pc:sldMkLst>
      </pc:sldChg>
      <pc:sldChg chg="mod modShow">
        <pc:chgData name="Green, Marcus" userId="30bed584-a595-42a2-9e97-835b8ce0a3d0" providerId="ADAL" clId="{BA34F325-CCBC-4CE7-BE63-197ABCCC171D}" dt="2024-01-04T09:25:13.465" v="682" actId="729"/>
        <pc:sldMkLst>
          <pc:docMk/>
          <pc:sldMk cId="3008090947" sldId="436"/>
        </pc:sldMkLst>
      </pc:sldChg>
      <pc:sldChg chg="modSp mod">
        <pc:chgData name="Green, Marcus" userId="30bed584-a595-42a2-9e97-835b8ce0a3d0" providerId="ADAL" clId="{BA34F325-CCBC-4CE7-BE63-197ABCCC171D}" dt="2024-01-02T15:12:40.371" v="107" actId="20577"/>
        <pc:sldMkLst>
          <pc:docMk/>
          <pc:sldMk cId="1837463162" sldId="491"/>
        </pc:sldMkLst>
        <pc:spChg chg="mod">
          <ac:chgData name="Green, Marcus" userId="30bed584-a595-42a2-9e97-835b8ce0a3d0" providerId="ADAL" clId="{BA34F325-CCBC-4CE7-BE63-197ABCCC171D}" dt="2024-01-02T15:12:40.371" v="107" actId="20577"/>
          <ac:spMkLst>
            <pc:docMk/>
            <pc:sldMk cId="1837463162" sldId="491"/>
            <ac:spMk id="17" creationId="{F3EC8CA1-111B-491B-96DD-E122AB0AA912}"/>
          </ac:spMkLst>
        </pc:spChg>
      </pc:sldChg>
      <pc:sldChg chg="modSp mod">
        <pc:chgData name="Green, Marcus" userId="30bed584-a595-42a2-9e97-835b8ce0a3d0" providerId="ADAL" clId="{BA34F325-CCBC-4CE7-BE63-197ABCCC171D}" dt="2024-01-08T22:01:47.226" v="1377" actId="20577"/>
        <pc:sldMkLst>
          <pc:docMk/>
          <pc:sldMk cId="688767876" sldId="501"/>
        </pc:sldMkLst>
        <pc:spChg chg="mod">
          <ac:chgData name="Green, Marcus" userId="30bed584-a595-42a2-9e97-835b8ce0a3d0" providerId="ADAL" clId="{BA34F325-CCBC-4CE7-BE63-197ABCCC171D}" dt="2024-01-08T22:01:47.226" v="1377" actId="20577"/>
          <ac:spMkLst>
            <pc:docMk/>
            <pc:sldMk cId="688767876" sldId="501"/>
            <ac:spMk id="13" creationId="{E9AF3C90-DC29-400C-90CA-0CD2718FA3E5}"/>
          </ac:spMkLst>
        </pc:spChg>
      </pc:sldChg>
      <pc:sldChg chg="modSp mod">
        <pc:chgData name="Green, Marcus" userId="30bed584-a595-42a2-9e97-835b8ce0a3d0" providerId="ADAL" clId="{BA34F325-CCBC-4CE7-BE63-197ABCCC171D}" dt="2024-01-07T17:09:18.885" v="1296" actId="1036"/>
        <pc:sldMkLst>
          <pc:docMk/>
          <pc:sldMk cId="2866105338" sldId="1450"/>
        </pc:sldMkLst>
        <pc:spChg chg="mod">
          <ac:chgData name="Green, Marcus" userId="30bed584-a595-42a2-9e97-835b8ce0a3d0" providerId="ADAL" clId="{BA34F325-CCBC-4CE7-BE63-197ABCCC171D}" dt="2024-01-07T17:09:18.885" v="1296" actId="1036"/>
          <ac:spMkLst>
            <pc:docMk/>
            <pc:sldMk cId="2866105338" sldId="1450"/>
            <ac:spMk id="20" creationId="{CEF26655-6C44-7F4A-E769-2145A25ABCCB}"/>
          </ac:spMkLst>
        </pc:spChg>
      </pc:sldChg>
      <pc:sldChg chg="modSp mod">
        <pc:chgData name="Green, Marcus" userId="30bed584-a595-42a2-9e97-835b8ce0a3d0" providerId="ADAL" clId="{BA34F325-CCBC-4CE7-BE63-197ABCCC171D}" dt="2024-01-08T22:12:33.382" v="1486" actId="20577"/>
        <pc:sldMkLst>
          <pc:docMk/>
          <pc:sldMk cId="146764026" sldId="2147477486"/>
        </pc:sldMkLst>
        <pc:spChg chg="mod">
          <ac:chgData name="Green, Marcus" userId="30bed584-a595-42a2-9e97-835b8ce0a3d0" providerId="ADAL" clId="{BA34F325-CCBC-4CE7-BE63-197ABCCC171D}" dt="2024-01-08T22:12:33.382" v="1486" actId="20577"/>
          <ac:spMkLst>
            <pc:docMk/>
            <pc:sldMk cId="146764026" sldId="2147477486"/>
            <ac:spMk id="2" creationId="{085535D4-D810-FCF5-8EB8-30CD82E3D354}"/>
          </ac:spMkLst>
        </pc:spChg>
      </pc:sldChg>
      <pc:sldChg chg="modSp mod">
        <pc:chgData name="Green, Marcus" userId="30bed584-a595-42a2-9e97-835b8ce0a3d0" providerId="ADAL" clId="{BA34F325-CCBC-4CE7-BE63-197ABCCC171D}" dt="2024-01-04T09:26:19.776" v="738" actId="20577"/>
        <pc:sldMkLst>
          <pc:docMk/>
          <pc:sldMk cId="769345967" sldId="2147477641"/>
        </pc:sldMkLst>
        <pc:spChg chg="mod">
          <ac:chgData name="Green, Marcus" userId="30bed584-a595-42a2-9e97-835b8ce0a3d0" providerId="ADAL" clId="{BA34F325-CCBC-4CE7-BE63-197ABCCC171D}" dt="2024-01-04T09:26:19.776" v="738" actId="20577"/>
          <ac:spMkLst>
            <pc:docMk/>
            <pc:sldMk cId="769345967" sldId="2147477641"/>
            <ac:spMk id="3" creationId="{00000000-0000-0000-0000-000000000000}"/>
          </ac:spMkLst>
        </pc:spChg>
      </pc:sldChg>
      <pc:sldChg chg="modSp mod">
        <pc:chgData name="Green, Marcus" userId="30bed584-a595-42a2-9e97-835b8ce0a3d0" providerId="ADAL" clId="{BA34F325-CCBC-4CE7-BE63-197ABCCC171D}" dt="2024-01-04T09:28:59.192" v="1192" actId="20577"/>
        <pc:sldMkLst>
          <pc:docMk/>
          <pc:sldMk cId="3335172176" sldId="2147477661"/>
        </pc:sldMkLst>
        <pc:graphicFrameChg chg="mod modGraphic">
          <ac:chgData name="Green, Marcus" userId="30bed584-a595-42a2-9e97-835b8ce0a3d0" providerId="ADAL" clId="{BA34F325-CCBC-4CE7-BE63-197ABCCC171D}" dt="2024-01-04T09:28:59.192" v="1192" actId="20577"/>
          <ac:graphicFrameMkLst>
            <pc:docMk/>
            <pc:sldMk cId="3335172176" sldId="2147477661"/>
            <ac:graphicFrameMk id="5" creationId="{416F253E-86A2-4EC3-87C8-A3D626B36ADC}"/>
          </ac:graphicFrameMkLst>
        </pc:graphicFrameChg>
      </pc:sldChg>
      <pc:sldChg chg="modSp mod">
        <pc:chgData name="Green, Marcus" userId="30bed584-a595-42a2-9e97-835b8ce0a3d0" providerId="ADAL" clId="{BA34F325-CCBC-4CE7-BE63-197ABCCC171D}" dt="2024-01-02T16:21:47.308" v="191" actId="20577"/>
        <pc:sldMkLst>
          <pc:docMk/>
          <pc:sldMk cId="3944702896" sldId="2147477686"/>
        </pc:sldMkLst>
        <pc:spChg chg="mod">
          <ac:chgData name="Green, Marcus" userId="30bed584-a595-42a2-9e97-835b8ce0a3d0" providerId="ADAL" clId="{BA34F325-CCBC-4CE7-BE63-197ABCCC171D}" dt="2024-01-02T16:21:47.308" v="191" actId="20577"/>
          <ac:spMkLst>
            <pc:docMk/>
            <pc:sldMk cId="3944702896" sldId="2147477686"/>
            <ac:spMk id="17" creationId="{F3EC8CA1-111B-491B-96DD-E122AB0AA912}"/>
          </ac:spMkLst>
        </pc:spChg>
        <pc:spChg chg="mod">
          <ac:chgData name="Green, Marcus" userId="30bed584-a595-42a2-9e97-835b8ce0a3d0" providerId="ADAL" clId="{BA34F325-CCBC-4CE7-BE63-197ABCCC171D}" dt="2024-01-02T16:20:18.627" v="178" actId="20577"/>
          <ac:spMkLst>
            <pc:docMk/>
            <pc:sldMk cId="3944702896" sldId="2147477686"/>
            <ac:spMk id="19" creationId="{4C5320E8-80CD-4626-9E6F-54355E0822CA}"/>
          </ac:spMkLst>
        </pc:spChg>
      </pc:sldChg>
      <pc:sldChg chg="modSp mod">
        <pc:chgData name="Green, Marcus" userId="30bed584-a595-42a2-9e97-835b8ce0a3d0" providerId="ADAL" clId="{BA34F325-CCBC-4CE7-BE63-197ABCCC171D}" dt="2024-01-02T16:51:42.198" v="208" actId="20577"/>
        <pc:sldMkLst>
          <pc:docMk/>
          <pc:sldMk cId="2237394439" sldId="2147477689"/>
        </pc:sldMkLst>
        <pc:spChg chg="mod">
          <ac:chgData name="Green, Marcus" userId="30bed584-a595-42a2-9e97-835b8ce0a3d0" providerId="ADAL" clId="{BA34F325-CCBC-4CE7-BE63-197ABCCC171D}" dt="2024-01-02T16:51:42.198" v="208" actId="20577"/>
          <ac:spMkLst>
            <pc:docMk/>
            <pc:sldMk cId="2237394439" sldId="2147477689"/>
            <ac:spMk id="9" creationId="{A10E0D48-BE8C-45D6-9CA6-A53F59075525}"/>
          </ac:spMkLst>
        </pc:spChg>
      </pc:sldChg>
      <pc:sldChg chg="modSp mod">
        <pc:chgData name="Green, Marcus" userId="30bed584-a595-42a2-9e97-835b8ce0a3d0" providerId="ADAL" clId="{BA34F325-CCBC-4CE7-BE63-197ABCCC171D}" dt="2024-01-08T22:04:21.656" v="1471" actId="20577"/>
        <pc:sldMkLst>
          <pc:docMk/>
          <pc:sldMk cId="4263810485" sldId="2147477690"/>
        </pc:sldMkLst>
        <pc:spChg chg="mod">
          <ac:chgData name="Green, Marcus" userId="30bed584-a595-42a2-9e97-835b8ce0a3d0" providerId="ADAL" clId="{BA34F325-CCBC-4CE7-BE63-197ABCCC171D}" dt="2024-01-08T22:04:21.656" v="1471" actId="20577"/>
          <ac:spMkLst>
            <pc:docMk/>
            <pc:sldMk cId="4263810485" sldId="2147477690"/>
            <ac:spMk id="9" creationId="{A10E0D48-BE8C-45D6-9CA6-A53F59075525}"/>
          </ac:spMkLst>
        </pc:spChg>
      </pc:sldChg>
      <pc:sldChg chg="modSp mod">
        <pc:chgData name="Green, Marcus" userId="30bed584-a595-42a2-9e97-835b8ce0a3d0" providerId="ADAL" clId="{BA34F325-CCBC-4CE7-BE63-197ABCCC171D}" dt="2024-01-08T22:06:03.592" v="1474" actId="20577"/>
        <pc:sldMkLst>
          <pc:docMk/>
          <pc:sldMk cId="1956336252" sldId="2147477691"/>
        </pc:sldMkLst>
        <pc:spChg chg="mod">
          <ac:chgData name="Green, Marcus" userId="30bed584-a595-42a2-9e97-835b8ce0a3d0" providerId="ADAL" clId="{BA34F325-CCBC-4CE7-BE63-197ABCCC171D}" dt="2024-01-08T22:06:03.592" v="1474" actId="20577"/>
          <ac:spMkLst>
            <pc:docMk/>
            <pc:sldMk cId="1956336252" sldId="2147477691"/>
            <ac:spMk id="3" creationId="{F29F6057-CBFA-5A78-DBE3-0166C7C3A5FF}"/>
          </ac:spMkLst>
        </pc:spChg>
      </pc:sldChg>
      <pc:sldChg chg="modSp mod">
        <pc:chgData name="Green, Marcus" userId="30bed584-a595-42a2-9e97-835b8ce0a3d0" providerId="ADAL" clId="{BA34F325-CCBC-4CE7-BE63-197ABCCC171D}" dt="2024-01-04T09:23:32.515" v="591"/>
        <pc:sldMkLst>
          <pc:docMk/>
          <pc:sldMk cId="2051692527" sldId="2147477692"/>
        </pc:sldMkLst>
        <pc:spChg chg="mod">
          <ac:chgData name="Green, Marcus" userId="30bed584-a595-42a2-9e97-835b8ce0a3d0" providerId="ADAL" clId="{BA34F325-CCBC-4CE7-BE63-197ABCCC171D}" dt="2024-01-04T09:23:32.515" v="591"/>
          <ac:spMkLst>
            <pc:docMk/>
            <pc:sldMk cId="2051692527" sldId="2147477692"/>
            <ac:spMk id="2" creationId="{788FE71D-D602-0326-5F90-3F60CBF4F7BC}"/>
          </ac:spMkLst>
        </pc:spChg>
      </pc:sldChg>
      <pc:sldChg chg="modSp mod">
        <pc:chgData name="Green, Marcus" userId="30bed584-a595-42a2-9e97-835b8ce0a3d0" providerId="ADAL" clId="{BA34F325-CCBC-4CE7-BE63-197ABCCC171D}" dt="2024-01-04T09:22:13.780" v="553"/>
        <pc:sldMkLst>
          <pc:docMk/>
          <pc:sldMk cId="2588001900" sldId="2147477693"/>
        </pc:sldMkLst>
        <pc:spChg chg="mod">
          <ac:chgData name="Green, Marcus" userId="30bed584-a595-42a2-9e97-835b8ce0a3d0" providerId="ADAL" clId="{BA34F325-CCBC-4CE7-BE63-197ABCCC171D}" dt="2024-01-04T09:22:13.780" v="553"/>
          <ac:spMkLst>
            <pc:docMk/>
            <pc:sldMk cId="2588001900" sldId="2147477693"/>
            <ac:spMk id="3" creationId="{5AAC5636-F814-1CE2-1EB3-591BF1D924FB}"/>
          </ac:spMkLst>
        </pc:spChg>
      </pc:sldChg>
      <pc:sldChg chg="modSp mod">
        <pc:chgData name="Green, Marcus" userId="30bed584-a595-42a2-9e97-835b8ce0a3d0" providerId="ADAL" clId="{BA34F325-CCBC-4CE7-BE63-197ABCCC171D}" dt="2024-01-04T09:11:38.182" v="443"/>
        <pc:sldMkLst>
          <pc:docMk/>
          <pc:sldMk cId="1331294122" sldId="2147477694"/>
        </pc:sldMkLst>
        <pc:spChg chg="mod">
          <ac:chgData name="Green, Marcus" userId="30bed584-a595-42a2-9e97-835b8ce0a3d0" providerId="ADAL" clId="{BA34F325-CCBC-4CE7-BE63-197ABCCC171D}" dt="2024-01-04T09:11:38.182" v="443"/>
          <ac:spMkLst>
            <pc:docMk/>
            <pc:sldMk cId="1331294122" sldId="2147477694"/>
            <ac:spMk id="3" creationId="{1A5C6DAE-8C0D-2E02-35A9-D171DBFE1585}"/>
          </ac:spMkLst>
        </pc:spChg>
      </pc:sldChg>
      <pc:sldChg chg="modSp mod">
        <pc:chgData name="Green, Marcus" userId="30bed584-a595-42a2-9e97-835b8ce0a3d0" providerId="ADAL" clId="{BA34F325-CCBC-4CE7-BE63-197ABCCC171D}" dt="2024-01-04T09:10:05.620" v="332" actId="20577"/>
        <pc:sldMkLst>
          <pc:docMk/>
          <pc:sldMk cId="2313674478" sldId="2147477695"/>
        </pc:sldMkLst>
        <pc:spChg chg="mod">
          <ac:chgData name="Green, Marcus" userId="30bed584-a595-42a2-9e97-835b8ce0a3d0" providerId="ADAL" clId="{BA34F325-CCBC-4CE7-BE63-197ABCCC171D}" dt="2024-01-04T09:10:05.620" v="332" actId="20577"/>
          <ac:spMkLst>
            <pc:docMk/>
            <pc:sldMk cId="2313674478" sldId="2147477695"/>
            <ac:spMk id="3" creationId="{2A0C482B-B274-EF75-820F-06CA297248A0}"/>
          </ac:spMkLst>
        </pc:spChg>
      </pc:sldChg>
      <pc:sldChg chg="modSp mod">
        <pc:chgData name="Green, Marcus" userId="30bed584-a595-42a2-9e97-835b8ce0a3d0" providerId="ADAL" clId="{BA34F325-CCBC-4CE7-BE63-197ABCCC171D}" dt="2024-01-04T09:29:50.944" v="1278" actId="20577"/>
        <pc:sldMkLst>
          <pc:docMk/>
          <pc:sldMk cId="316011941" sldId="2147477696"/>
        </pc:sldMkLst>
        <pc:spChg chg="mod">
          <ac:chgData name="Green, Marcus" userId="30bed584-a595-42a2-9e97-835b8ce0a3d0" providerId="ADAL" clId="{BA34F325-CCBC-4CE7-BE63-197ABCCC171D}" dt="2024-01-04T09:29:50.944" v="1278" actId="20577"/>
          <ac:spMkLst>
            <pc:docMk/>
            <pc:sldMk cId="316011941" sldId="2147477696"/>
            <ac:spMk id="20" creationId="{CEF26655-6C44-7F4A-E769-2145A25ABCCB}"/>
          </ac:spMkLst>
        </pc:spChg>
      </pc:sldChg>
      <pc:sldChg chg="modSp mod">
        <pc:chgData name="Green, Marcus" userId="30bed584-a595-42a2-9e97-835b8ce0a3d0" providerId="ADAL" clId="{BA34F325-CCBC-4CE7-BE63-197ABCCC171D}" dt="2024-01-04T09:27:40.181" v="1020" actId="1036"/>
        <pc:sldMkLst>
          <pc:docMk/>
          <pc:sldMk cId="2082674793" sldId="2147477697"/>
        </pc:sldMkLst>
        <pc:spChg chg="mod">
          <ac:chgData name="Green, Marcus" userId="30bed584-a595-42a2-9e97-835b8ce0a3d0" providerId="ADAL" clId="{BA34F325-CCBC-4CE7-BE63-197ABCCC171D}" dt="2024-01-04T09:27:34.057" v="1002" actId="1036"/>
          <ac:spMkLst>
            <pc:docMk/>
            <pc:sldMk cId="2082674793" sldId="2147477697"/>
            <ac:spMk id="19" creationId="{43853592-F1F6-767F-517B-CC0E4128C6D9}"/>
          </ac:spMkLst>
        </pc:spChg>
        <pc:spChg chg="mod">
          <ac:chgData name="Green, Marcus" userId="30bed584-a595-42a2-9e97-835b8ce0a3d0" providerId="ADAL" clId="{BA34F325-CCBC-4CE7-BE63-197ABCCC171D}" dt="2024-01-04T09:27:40.181" v="1020" actId="1036"/>
          <ac:spMkLst>
            <pc:docMk/>
            <pc:sldMk cId="2082674793" sldId="2147477697"/>
            <ac:spMk id="20" creationId="{CEF26655-6C44-7F4A-E769-2145A25ABCCB}"/>
          </ac:spMkLst>
        </pc:spChg>
      </pc:sldChg>
      <pc:sldChg chg="del">
        <pc:chgData name="Green, Marcus" userId="30bed584-a595-42a2-9e97-835b8ce0a3d0" providerId="ADAL" clId="{BA34F325-CCBC-4CE7-BE63-197ABCCC171D}" dt="2024-01-04T09:26:41.120" v="739" actId="47"/>
        <pc:sldMkLst>
          <pc:docMk/>
          <pc:sldMk cId="802632363" sldId="2147477698"/>
        </pc:sldMkLst>
      </pc:sldChg>
      <pc:sldChg chg="del">
        <pc:chgData name="Green, Marcus" userId="30bed584-a595-42a2-9e97-835b8ce0a3d0" providerId="ADAL" clId="{BA34F325-CCBC-4CE7-BE63-197ABCCC171D}" dt="2024-01-09T10:34:34.665" v="1487" actId="47"/>
        <pc:sldMkLst>
          <pc:docMk/>
          <pc:sldMk cId="2064188170" sldId="2147477698"/>
        </pc:sldMkLst>
      </pc:sldChg>
    </pc:docChg>
  </pc:docChgLst>
  <pc:docChgLst>
    <pc:chgData name="Bahrami Jovein, Layla (she/her)" userId="564c9fd6-df70-4614-9d39-b1969e2021ac" providerId="ADAL" clId="{FD801BB5-6C41-42BD-B611-F0B6F730DF36}"/>
    <pc:docChg chg="undo redo custSel addSld delSld modSld sldOrd">
      <pc:chgData name="Bahrami Jovein, Layla (she/her)" userId="564c9fd6-df70-4614-9d39-b1969e2021ac" providerId="ADAL" clId="{FD801BB5-6C41-42BD-B611-F0B6F730DF36}" dt="2024-01-09T15:58:10.875" v="2262" actId="47"/>
      <pc:docMkLst>
        <pc:docMk/>
      </pc:docMkLst>
      <pc:sldChg chg="add">
        <pc:chgData name="Bahrami Jovein, Layla (she/her)" userId="564c9fd6-df70-4614-9d39-b1969e2021ac" providerId="ADAL" clId="{FD801BB5-6C41-42BD-B611-F0B6F730DF36}" dt="2023-12-22T18:30:51.480" v="1098"/>
        <pc:sldMkLst>
          <pc:docMk/>
          <pc:sldMk cId="1854940306" sldId="406"/>
        </pc:sldMkLst>
      </pc:sldChg>
      <pc:sldChg chg="add">
        <pc:chgData name="Bahrami Jovein, Layla (she/her)" userId="564c9fd6-df70-4614-9d39-b1969e2021ac" providerId="ADAL" clId="{FD801BB5-6C41-42BD-B611-F0B6F730DF36}" dt="2023-12-22T18:30:31.730" v="1094"/>
        <pc:sldMkLst>
          <pc:docMk/>
          <pc:sldMk cId="833732438" sldId="415"/>
        </pc:sldMkLst>
      </pc:sldChg>
      <pc:sldChg chg="add">
        <pc:chgData name="Bahrami Jovein, Layla (she/her)" userId="564c9fd6-df70-4614-9d39-b1969e2021ac" providerId="ADAL" clId="{FD801BB5-6C41-42BD-B611-F0B6F730DF36}" dt="2023-12-22T18:30:41.600" v="1096"/>
        <pc:sldMkLst>
          <pc:docMk/>
          <pc:sldMk cId="235451164" sldId="416"/>
        </pc:sldMkLst>
      </pc:sldChg>
      <pc:sldChg chg="add del">
        <pc:chgData name="Bahrami Jovein, Layla (she/her)" userId="564c9fd6-df70-4614-9d39-b1969e2021ac" providerId="ADAL" clId="{FD801BB5-6C41-42BD-B611-F0B6F730DF36}" dt="2023-12-22T18:31:46.823" v="1102"/>
        <pc:sldMkLst>
          <pc:docMk/>
          <pc:sldMk cId="2715426064" sldId="424"/>
        </pc:sldMkLst>
      </pc:sldChg>
      <pc:sldChg chg="add del">
        <pc:chgData name="Bahrami Jovein, Layla (she/her)" userId="564c9fd6-df70-4614-9d39-b1969e2021ac" providerId="ADAL" clId="{FD801BB5-6C41-42BD-B611-F0B6F730DF36}" dt="2023-12-22T18:31:46.823" v="1102"/>
        <pc:sldMkLst>
          <pc:docMk/>
          <pc:sldMk cId="3303413383" sldId="425"/>
        </pc:sldMkLst>
      </pc:sldChg>
      <pc:sldChg chg="add del">
        <pc:chgData name="Bahrami Jovein, Layla (she/her)" userId="564c9fd6-df70-4614-9d39-b1969e2021ac" providerId="ADAL" clId="{FD801BB5-6C41-42BD-B611-F0B6F730DF36}" dt="2023-12-22T18:31:46.823" v="1102"/>
        <pc:sldMkLst>
          <pc:docMk/>
          <pc:sldMk cId="875672126" sldId="426"/>
        </pc:sldMkLst>
      </pc:sldChg>
      <pc:sldChg chg="add del">
        <pc:chgData name="Bahrami Jovein, Layla (she/her)" userId="564c9fd6-df70-4614-9d39-b1969e2021ac" providerId="ADAL" clId="{FD801BB5-6C41-42BD-B611-F0B6F730DF36}" dt="2023-12-22T18:32:18.756" v="1110"/>
        <pc:sldMkLst>
          <pc:docMk/>
          <pc:sldMk cId="1707046435" sldId="427"/>
        </pc:sldMkLst>
      </pc:sldChg>
      <pc:sldChg chg="add del">
        <pc:chgData name="Bahrami Jovein, Layla (she/her)" userId="564c9fd6-df70-4614-9d39-b1969e2021ac" providerId="ADAL" clId="{FD801BB5-6C41-42BD-B611-F0B6F730DF36}" dt="2023-12-22T18:32:18.756" v="1110"/>
        <pc:sldMkLst>
          <pc:docMk/>
          <pc:sldMk cId="293941060" sldId="428"/>
        </pc:sldMkLst>
      </pc:sldChg>
      <pc:sldChg chg="add mod modShow">
        <pc:chgData name="Bahrami Jovein, Layla (she/her)" userId="564c9fd6-df70-4614-9d39-b1969e2021ac" providerId="ADAL" clId="{FD801BB5-6C41-42BD-B611-F0B6F730DF36}" dt="2024-01-09T15:58:02.084" v="2260" actId="729"/>
        <pc:sldMkLst>
          <pc:docMk/>
          <pc:sldMk cId="3245313624" sldId="432"/>
        </pc:sldMkLst>
      </pc:sldChg>
      <pc:sldChg chg="add">
        <pc:chgData name="Bahrami Jovein, Layla (she/her)" userId="564c9fd6-df70-4614-9d39-b1969e2021ac" providerId="ADAL" clId="{FD801BB5-6C41-42BD-B611-F0B6F730DF36}" dt="2023-12-22T18:32:59.336" v="1117"/>
        <pc:sldMkLst>
          <pc:docMk/>
          <pc:sldMk cId="348958871" sldId="433"/>
        </pc:sldMkLst>
      </pc:sldChg>
      <pc:sldChg chg="add">
        <pc:chgData name="Bahrami Jovein, Layla (she/her)" userId="564c9fd6-df70-4614-9d39-b1969e2021ac" providerId="ADAL" clId="{FD801BB5-6C41-42BD-B611-F0B6F730DF36}" dt="2023-12-22T18:32:47.519" v="1115"/>
        <pc:sldMkLst>
          <pc:docMk/>
          <pc:sldMk cId="1136990364" sldId="434"/>
        </pc:sldMkLst>
      </pc:sldChg>
      <pc:sldChg chg="add">
        <pc:chgData name="Bahrami Jovein, Layla (she/her)" userId="564c9fd6-df70-4614-9d39-b1969e2021ac" providerId="ADAL" clId="{FD801BB5-6C41-42BD-B611-F0B6F730DF36}" dt="2023-12-22T18:33:14.528" v="1119"/>
        <pc:sldMkLst>
          <pc:docMk/>
          <pc:sldMk cId="3008090947" sldId="436"/>
        </pc:sldMkLst>
      </pc:sldChg>
      <pc:sldChg chg="add">
        <pc:chgData name="Bahrami Jovein, Layla (she/her)" userId="564c9fd6-df70-4614-9d39-b1969e2021ac" providerId="ADAL" clId="{FD801BB5-6C41-42BD-B611-F0B6F730DF36}" dt="2023-12-22T18:30:20.506" v="1092"/>
        <pc:sldMkLst>
          <pc:docMk/>
          <pc:sldMk cId="724139693" sldId="454"/>
        </pc:sldMkLst>
      </pc:sldChg>
      <pc:sldChg chg="addSp delSp modSp add mod">
        <pc:chgData name="Bahrami Jovein, Layla (she/her)" userId="564c9fd6-df70-4614-9d39-b1969e2021ac" providerId="ADAL" clId="{FD801BB5-6C41-42BD-B611-F0B6F730DF36}" dt="2023-12-22T17:26:55.422" v="265" actId="20577"/>
        <pc:sldMkLst>
          <pc:docMk/>
          <pc:sldMk cId="1837463162" sldId="491"/>
        </pc:sldMkLst>
        <pc:spChg chg="mod">
          <ac:chgData name="Bahrami Jovein, Layla (she/her)" userId="564c9fd6-df70-4614-9d39-b1969e2021ac" providerId="ADAL" clId="{FD801BB5-6C41-42BD-B611-F0B6F730DF36}" dt="2023-12-22T17:26:55.422" v="265" actId="20577"/>
          <ac:spMkLst>
            <pc:docMk/>
            <pc:sldMk cId="1837463162" sldId="491"/>
            <ac:spMk id="2" creationId="{74536499-0528-498A-ABDE-B0F4B7B1A18B}"/>
          </ac:spMkLst>
        </pc:spChg>
        <pc:spChg chg="add mod">
          <ac:chgData name="Bahrami Jovein, Layla (she/her)" userId="564c9fd6-df70-4614-9d39-b1969e2021ac" providerId="ADAL" clId="{FD801BB5-6C41-42BD-B611-F0B6F730DF36}" dt="2023-12-22T17:25:27.532" v="176" actId="1076"/>
          <ac:spMkLst>
            <pc:docMk/>
            <pc:sldMk cId="1837463162" sldId="491"/>
            <ac:spMk id="3" creationId="{367C6387-5720-CACC-E6A0-F72B83B4C577}"/>
          </ac:spMkLst>
        </pc:spChg>
        <pc:spChg chg="mod">
          <ac:chgData name="Bahrami Jovein, Layla (she/her)" userId="564c9fd6-df70-4614-9d39-b1969e2021ac" providerId="ADAL" clId="{FD801BB5-6C41-42BD-B611-F0B6F730DF36}" dt="2023-12-22T17:23:38.050" v="141" actId="20577"/>
          <ac:spMkLst>
            <pc:docMk/>
            <pc:sldMk cId="1837463162" sldId="491"/>
            <ac:spMk id="13" creationId="{8BC6A2F5-9D4B-455E-ABFD-CD664610CB9F}"/>
          </ac:spMkLst>
        </pc:spChg>
        <pc:spChg chg="mod">
          <ac:chgData name="Bahrami Jovein, Layla (she/her)" userId="564c9fd6-df70-4614-9d39-b1969e2021ac" providerId="ADAL" clId="{FD801BB5-6C41-42BD-B611-F0B6F730DF36}" dt="2023-12-22T17:23:42.663" v="151" actId="20577"/>
          <ac:spMkLst>
            <pc:docMk/>
            <pc:sldMk cId="1837463162" sldId="491"/>
            <ac:spMk id="14" creationId="{551FBBF0-826F-469D-94C9-798EEA4859E9}"/>
          </ac:spMkLst>
        </pc:spChg>
        <pc:spChg chg="mod">
          <ac:chgData name="Bahrami Jovein, Layla (she/her)" userId="564c9fd6-df70-4614-9d39-b1969e2021ac" providerId="ADAL" clId="{FD801BB5-6C41-42BD-B611-F0B6F730DF36}" dt="2023-12-22T17:23:49.594" v="153" actId="1076"/>
          <ac:spMkLst>
            <pc:docMk/>
            <pc:sldMk cId="1837463162" sldId="491"/>
            <ac:spMk id="15" creationId="{F6C25EA1-E7FA-4A9F-AB06-19DDEF81C366}"/>
          </ac:spMkLst>
        </pc:spChg>
        <pc:spChg chg="del">
          <ac:chgData name="Bahrami Jovein, Layla (she/her)" userId="564c9fd6-df70-4614-9d39-b1969e2021ac" providerId="ADAL" clId="{FD801BB5-6C41-42BD-B611-F0B6F730DF36}" dt="2023-12-22T17:23:14.485" v="127" actId="478"/>
          <ac:spMkLst>
            <pc:docMk/>
            <pc:sldMk cId="1837463162" sldId="491"/>
            <ac:spMk id="16" creationId="{46A0C773-CAF4-47ED-A139-1299B9EF73EC}"/>
          </ac:spMkLst>
        </pc:spChg>
        <pc:spChg chg="mod">
          <ac:chgData name="Bahrami Jovein, Layla (she/her)" userId="564c9fd6-df70-4614-9d39-b1969e2021ac" providerId="ADAL" clId="{FD801BB5-6C41-42BD-B611-F0B6F730DF36}" dt="2023-12-22T17:23:57.040" v="155" actId="12"/>
          <ac:spMkLst>
            <pc:docMk/>
            <pc:sldMk cId="1837463162" sldId="491"/>
            <ac:spMk id="17" creationId="{F3EC8CA1-111B-491B-96DD-E122AB0AA912}"/>
          </ac:spMkLst>
        </pc:spChg>
        <pc:spChg chg="del">
          <ac:chgData name="Bahrami Jovein, Layla (she/her)" userId="564c9fd6-df70-4614-9d39-b1969e2021ac" providerId="ADAL" clId="{FD801BB5-6C41-42BD-B611-F0B6F730DF36}" dt="2023-12-22T17:23:33.351" v="132" actId="478"/>
          <ac:spMkLst>
            <pc:docMk/>
            <pc:sldMk cId="1837463162" sldId="491"/>
            <ac:spMk id="18" creationId="{6DF43B27-957A-4B2B-B6BD-8D605D729179}"/>
          </ac:spMkLst>
        </pc:spChg>
        <pc:spChg chg="mod">
          <ac:chgData name="Bahrami Jovein, Layla (she/her)" userId="564c9fd6-df70-4614-9d39-b1969e2021ac" providerId="ADAL" clId="{FD801BB5-6C41-42BD-B611-F0B6F730DF36}" dt="2023-12-22T17:24:46.686" v="162" actId="1076"/>
          <ac:spMkLst>
            <pc:docMk/>
            <pc:sldMk cId="1837463162" sldId="491"/>
            <ac:spMk id="19" creationId="{4C5320E8-80CD-4626-9E6F-54355E0822CA}"/>
          </ac:spMkLst>
        </pc:spChg>
        <pc:spChg chg="mod">
          <ac:chgData name="Bahrami Jovein, Layla (she/her)" userId="564c9fd6-df70-4614-9d39-b1969e2021ac" providerId="ADAL" clId="{FD801BB5-6C41-42BD-B611-F0B6F730DF36}" dt="2023-12-22T17:24:47.151" v="163"/>
          <ac:spMkLst>
            <pc:docMk/>
            <pc:sldMk cId="1837463162" sldId="491"/>
            <ac:spMk id="24" creationId="{919FFE5D-A421-4510-BA61-342F21A32097}"/>
          </ac:spMkLst>
        </pc:spChg>
        <pc:picChg chg="add mod">
          <ac:chgData name="Bahrami Jovein, Layla (she/her)" userId="564c9fd6-df70-4614-9d39-b1969e2021ac" providerId="ADAL" clId="{FD801BB5-6C41-42BD-B611-F0B6F730DF36}" dt="2023-12-22T17:26:28.515" v="188" actId="1076"/>
          <ac:picMkLst>
            <pc:docMk/>
            <pc:sldMk cId="1837463162" sldId="491"/>
            <ac:picMk id="4" creationId="{C537E151-5C3B-4656-DC52-2B52646F4665}"/>
          </ac:picMkLst>
        </pc:picChg>
        <pc:picChg chg="add mod">
          <ac:chgData name="Bahrami Jovein, Layla (she/her)" userId="564c9fd6-df70-4614-9d39-b1969e2021ac" providerId="ADAL" clId="{FD801BB5-6C41-42BD-B611-F0B6F730DF36}" dt="2023-12-22T17:26:32.187" v="189" actId="1076"/>
          <ac:picMkLst>
            <pc:docMk/>
            <pc:sldMk cId="1837463162" sldId="491"/>
            <ac:picMk id="5" creationId="{D2D4DAC4-0F69-2A51-29EE-3DEFE5D9535A}"/>
          </ac:picMkLst>
        </pc:picChg>
        <pc:picChg chg="del">
          <ac:chgData name="Bahrami Jovein, Layla (she/her)" userId="564c9fd6-df70-4614-9d39-b1969e2021ac" providerId="ADAL" clId="{FD801BB5-6C41-42BD-B611-F0B6F730DF36}" dt="2023-12-22T17:24:02.515" v="156" actId="478"/>
          <ac:picMkLst>
            <pc:docMk/>
            <pc:sldMk cId="1837463162" sldId="491"/>
            <ac:picMk id="12" creationId="{232663A5-6AB3-425A-B811-176A6D81A38B}"/>
          </ac:picMkLst>
        </pc:picChg>
      </pc:sldChg>
      <pc:sldChg chg="addSp delSp modSp add mod">
        <pc:chgData name="Bahrami Jovein, Layla (she/her)" userId="564c9fd6-df70-4614-9d39-b1969e2021ac" providerId="ADAL" clId="{FD801BB5-6C41-42BD-B611-F0B6F730DF36}" dt="2023-12-22T18:23:14.971" v="1043" actId="14100"/>
        <pc:sldMkLst>
          <pc:docMk/>
          <pc:sldMk cId="688767876" sldId="501"/>
        </pc:sldMkLst>
        <pc:spChg chg="mod">
          <ac:chgData name="Bahrami Jovein, Layla (she/her)" userId="564c9fd6-df70-4614-9d39-b1969e2021ac" providerId="ADAL" clId="{FD801BB5-6C41-42BD-B611-F0B6F730DF36}" dt="2023-12-22T18:17:48.891" v="965"/>
          <ac:spMkLst>
            <pc:docMk/>
            <pc:sldMk cId="688767876" sldId="501"/>
            <ac:spMk id="2" creationId="{4F4AA55C-29E9-4768-8EA6-8F619CBA8413}"/>
          </ac:spMkLst>
        </pc:spChg>
        <pc:spChg chg="mod">
          <ac:chgData name="Bahrami Jovein, Layla (she/her)" userId="564c9fd6-df70-4614-9d39-b1969e2021ac" providerId="ADAL" clId="{FD801BB5-6C41-42BD-B611-F0B6F730DF36}" dt="2023-12-22T18:15:46.434" v="944" actId="14100"/>
          <ac:spMkLst>
            <pc:docMk/>
            <pc:sldMk cId="688767876" sldId="501"/>
            <ac:spMk id="3" creationId="{322B0D78-DC78-4C42-AF0A-BC704F3BD4B8}"/>
          </ac:spMkLst>
        </pc:spChg>
        <pc:spChg chg="mod">
          <ac:chgData name="Bahrami Jovein, Layla (she/her)" userId="564c9fd6-df70-4614-9d39-b1969e2021ac" providerId="ADAL" clId="{FD801BB5-6C41-42BD-B611-F0B6F730DF36}" dt="2023-12-22T18:16:42.339" v="957" actId="1076"/>
          <ac:spMkLst>
            <pc:docMk/>
            <pc:sldMk cId="688767876" sldId="501"/>
            <ac:spMk id="4" creationId="{4A861749-EEEC-4713-ACA4-8728413088BE}"/>
          </ac:spMkLst>
        </pc:spChg>
        <pc:spChg chg="mod">
          <ac:chgData name="Bahrami Jovein, Layla (she/her)" userId="564c9fd6-df70-4614-9d39-b1969e2021ac" providerId="ADAL" clId="{FD801BB5-6C41-42BD-B611-F0B6F730DF36}" dt="2023-12-22T18:22:36.353" v="1035" actId="14100"/>
          <ac:spMkLst>
            <pc:docMk/>
            <pc:sldMk cId="688767876" sldId="501"/>
            <ac:spMk id="10" creationId="{37ADC3E8-3AD7-4905-A542-8ED2B83E8977}"/>
          </ac:spMkLst>
        </pc:spChg>
        <pc:spChg chg="mod">
          <ac:chgData name="Bahrami Jovein, Layla (she/her)" userId="564c9fd6-df70-4614-9d39-b1969e2021ac" providerId="ADAL" clId="{FD801BB5-6C41-42BD-B611-F0B6F730DF36}" dt="2023-12-22T18:22:34.089" v="1034" actId="1076"/>
          <ac:spMkLst>
            <pc:docMk/>
            <pc:sldMk cId="688767876" sldId="501"/>
            <ac:spMk id="11" creationId="{F4DE5229-7FFE-4D9D-903A-931845E7F638}"/>
          </ac:spMkLst>
        </pc:spChg>
        <pc:spChg chg="mod">
          <ac:chgData name="Bahrami Jovein, Layla (she/her)" userId="564c9fd6-df70-4614-9d39-b1969e2021ac" providerId="ADAL" clId="{FD801BB5-6C41-42BD-B611-F0B6F730DF36}" dt="2023-12-22T18:23:09.011" v="1042" actId="14100"/>
          <ac:spMkLst>
            <pc:docMk/>
            <pc:sldMk cId="688767876" sldId="501"/>
            <ac:spMk id="12" creationId="{F9515B1E-DD57-4ACB-B827-0987F88ADA2A}"/>
          </ac:spMkLst>
        </pc:spChg>
        <pc:spChg chg="mod">
          <ac:chgData name="Bahrami Jovein, Layla (she/her)" userId="564c9fd6-df70-4614-9d39-b1969e2021ac" providerId="ADAL" clId="{FD801BB5-6C41-42BD-B611-F0B6F730DF36}" dt="2023-12-22T18:23:06.003" v="1041" actId="14100"/>
          <ac:spMkLst>
            <pc:docMk/>
            <pc:sldMk cId="688767876" sldId="501"/>
            <ac:spMk id="13" creationId="{E9AF3C90-DC29-400C-90CA-0CD2718FA3E5}"/>
          </ac:spMkLst>
        </pc:spChg>
        <pc:spChg chg="mod">
          <ac:chgData name="Bahrami Jovein, Layla (she/her)" userId="564c9fd6-df70-4614-9d39-b1969e2021ac" providerId="ADAL" clId="{FD801BB5-6C41-42BD-B611-F0B6F730DF36}" dt="2023-12-22T18:23:14.971" v="1043" actId="14100"/>
          <ac:spMkLst>
            <pc:docMk/>
            <pc:sldMk cId="688767876" sldId="501"/>
            <ac:spMk id="14" creationId="{13E2AA57-3B84-4157-90F6-635DE62AC15A}"/>
          </ac:spMkLst>
        </pc:spChg>
        <pc:spChg chg="del">
          <ac:chgData name="Bahrami Jovein, Layla (she/her)" userId="564c9fd6-df70-4614-9d39-b1969e2021ac" providerId="ADAL" clId="{FD801BB5-6C41-42BD-B611-F0B6F730DF36}" dt="2023-12-22T18:19:24.660" v="982" actId="478"/>
          <ac:spMkLst>
            <pc:docMk/>
            <pc:sldMk cId="688767876" sldId="501"/>
            <ac:spMk id="15" creationId="{7346C3FF-E99B-416E-AAFA-E58C2AEFDB78}"/>
          </ac:spMkLst>
        </pc:spChg>
        <pc:picChg chg="add del mod">
          <ac:chgData name="Bahrami Jovein, Layla (she/her)" userId="564c9fd6-df70-4614-9d39-b1969e2021ac" providerId="ADAL" clId="{FD801BB5-6C41-42BD-B611-F0B6F730DF36}" dt="2023-12-22T18:17:32.251" v="962" actId="478"/>
          <ac:picMkLst>
            <pc:docMk/>
            <pc:sldMk cId="688767876" sldId="501"/>
            <ac:picMk id="5" creationId="{EAE7F617-9613-C14A-5515-F5A117FF2783}"/>
          </ac:picMkLst>
        </pc:picChg>
        <pc:picChg chg="add mod">
          <ac:chgData name="Bahrami Jovein, Layla (she/her)" userId="564c9fd6-df70-4614-9d39-b1969e2021ac" providerId="ADAL" clId="{FD801BB5-6C41-42BD-B611-F0B6F730DF36}" dt="2023-12-22T18:17:37.108" v="964" actId="1076"/>
          <ac:picMkLst>
            <pc:docMk/>
            <pc:sldMk cId="688767876" sldId="501"/>
            <ac:picMk id="6" creationId="{C847A3F9-DF4E-A166-0229-6931E3A275B2}"/>
          </ac:picMkLst>
        </pc:picChg>
        <pc:picChg chg="del">
          <ac:chgData name="Bahrami Jovein, Layla (she/her)" userId="564c9fd6-df70-4614-9d39-b1969e2021ac" providerId="ADAL" clId="{FD801BB5-6C41-42BD-B611-F0B6F730DF36}" dt="2023-12-22T18:15:13.978" v="939" actId="478"/>
          <ac:picMkLst>
            <pc:docMk/>
            <pc:sldMk cId="688767876" sldId="501"/>
            <ac:picMk id="8" creationId="{031134CA-369A-48BD-A637-18685CE426F3}"/>
          </ac:picMkLst>
        </pc:picChg>
      </pc:sldChg>
      <pc:sldChg chg="modSp del mod ord modShow">
        <pc:chgData name="Bahrami Jovein, Layla (she/her)" userId="564c9fd6-df70-4614-9d39-b1969e2021ac" providerId="ADAL" clId="{FD801BB5-6C41-42BD-B611-F0B6F730DF36}" dt="2024-01-09T15:57:54.134" v="2257" actId="47"/>
        <pc:sldMkLst>
          <pc:docMk/>
          <pc:sldMk cId="2866105338" sldId="1450"/>
        </pc:sldMkLst>
        <pc:spChg chg="mod">
          <ac:chgData name="Bahrami Jovein, Layla (she/her)" userId="564c9fd6-df70-4614-9d39-b1969e2021ac" providerId="ADAL" clId="{FD801BB5-6C41-42BD-B611-F0B6F730DF36}" dt="2024-01-03T15:14:58.956" v="2042" actId="20577"/>
          <ac:spMkLst>
            <pc:docMk/>
            <pc:sldMk cId="2866105338" sldId="1450"/>
            <ac:spMk id="7" creationId="{00000000-0000-0000-0000-000000000000}"/>
          </ac:spMkLst>
        </pc:spChg>
        <pc:spChg chg="mod">
          <ac:chgData name="Bahrami Jovein, Layla (she/her)" userId="564c9fd6-df70-4614-9d39-b1969e2021ac" providerId="ADAL" clId="{FD801BB5-6C41-42BD-B611-F0B6F730DF36}" dt="2024-01-03T15:17:01.190" v="2128" actId="20577"/>
          <ac:spMkLst>
            <pc:docMk/>
            <pc:sldMk cId="2866105338" sldId="1450"/>
            <ac:spMk id="20" creationId="{CEF26655-6C44-7F4A-E769-2145A25ABCCB}"/>
          </ac:spMkLst>
        </pc:spChg>
      </pc:sldChg>
      <pc:sldChg chg="add del">
        <pc:chgData name="Bahrami Jovein, Layla (she/her)" userId="564c9fd6-df70-4614-9d39-b1969e2021ac" providerId="ADAL" clId="{FD801BB5-6C41-42BD-B611-F0B6F730DF36}" dt="2023-12-22T18:32:21.640" v="1111" actId="47"/>
        <pc:sldMkLst>
          <pc:docMk/>
          <pc:sldMk cId="1305249720" sldId="1453"/>
        </pc:sldMkLst>
      </pc:sldChg>
      <pc:sldChg chg="modSp mod">
        <pc:chgData name="Bahrami Jovein, Layla (she/her)" userId="564c9fd6-df70-4614-9d39-b1969e2021ac" providerId="ADAL" clId="{FD801BB5-6C41-42BD-B611-F0B6F730DF36}" dt="2024-01-09T11:53:02.639" v="2251" actId="20577"/>
        <pc:sldMkLst>
          <pc:docMk/>
          <pc:sldMk cId="1996753582" sldId="2741"/>
        </pc:sldMkLst>
        <pc:spChg chg="mod">
          <ac:chgData name="Bahrami Jovein, Layla (she/her)" userId="564c9fd6-df70-4614-9d39-b1969e2021ac" providerId="ADAL" clId="{FD801BB5-6C41-42BD-B611-F0B6F730DF36}" dt="2024-01-09T11:53:02.639" v="2251" actId="20577"/>
          <ac:spMkLst>
            <pc:docMk/>
            <pc:sldMk cId="1996753582" sldId="2741"/>
            <ac:spMk id="12" creationId="{AD99B8E7-F7C9-46EB-8B7B-7FF236ABA5CB}"/>
          </ac:spMkLst>
        </pc:spChg>
      </pc:sldChg>
      <pc:sldChg chg="addSp delSp modSp add mod ord">
        <pc:chgData name="Bahrami Jovein, Layla (she/her)" userId="564c9fd6-df70-4614-9d39-b1969e2021ac" providerId="ADAL" clId="{FD801BB5-6C41-42BD-B611-F0B6F730DF36}" dt="2023-12-22T18:02:49.859" v="820" actId="20577"/>
        <pc:sldMkLst>
          <pc:docMk/>
          <pc:sldMk cId="1076267374" sldId="2145706587"/>
        </pc:sldMkLst>
        <pc:spChg chg="mod">
          <ac:chgData name="Bahrami Jovein, Layla (she/her)" userId="564c9fd6-df70-4614-9d39-b1969e2021ac" providerId="ADAL" clId="{FD801BB5-6C41-42BD-B611-F0B6F730DF36}" dt="2023-12-22T18:02:49.859" v="820" actId="20577"/>
          <ac:spMkLst>
            <pc:docMk/>
            <pc:sldMk cId="1076267374" sldId="2145706587"/>
            <ac:spMk id="2" creationId="{A7DEB311-D221-4916-A540-0CD33231180C}"/>
          </ac:spMkLst>
        </pc:spChg>
        <pc:spChg chg="mod">
          <ac:chgData name="Bahrami Jovein, Layla (she/her)" userId="564c9fd6-df70-4614-9d39-b1969e2021ac" providerId="ADAL" clId="{FD801BB5-6C41-42BD-B611-F0B6F730DF36}" dt="2023-12-22T18:01:49.428" v="805" actId="948"/>
          <ac:spMkLst>
            <pc:docMk/>
            <pc:sldMk cId="1076267374" sldId="2145706587"/>
            <ac:spMk id="9" creationId="{A10E0D48-BE8C-45D6-9CA6-A53F59075525}"/>
          </ac:spMkLst>
        </pc:spChg>
        <pc:spChg chg="del">
          <ac:chgData name="Bahrami Jovein, Layla (she/her)" userId="564c9fd6-df70-4614-9d39-b1969e2021ac" providerId="ADAL" clId="{FD801BB5-6C41-42BD-B611-F0B6F730DF36}" dt="2023-12-22T17:53:31.202" v="660" actId="478"/>
          <ac:spMkLst>
            <pc:docMk/>
            <pc:sldMk cId="1076267374" sldId="2145706587"/>
            <ac:spMk id="18" creationId="{12C429FA-FDEB-4447-AC9D-21195D43D115}"/>
          </ac:spMkLst>
        </pc:spChg>
        <pc:spChg chg="del">
          <ac:chgData name="Bahrami Jovein, Layla (she/her)" userId="564c9fd6-df70-4614-9d39-b1969e2021ac" providerId="ADAL" clId="{FD801BB5-6C41-42BD-B611-F0B6F730DF36}" dt="2023-12-22T17:53:43.177" v="665" actId="478"/>
          <ac:spMkLst>
            <pc:docMk/>
            <pc:sldMk cId="1076267374" sldId="2145706587"/>
            <ac:spMk id="19" creationId="{037AD85A-43AB-4463-9EEF-756321EA85F9}"/>
          </ac:spMkLst>
        </pc:spChg>
        <pc:spChg chg="del">
          <ac:chgData name="Bahrami Jovein, Layla (she/her)" userId="564c9fd6-df70-4614-9d39-b1969e2021ac" providerId="ADAL" clId="{FD801BB5-6C41-42BD-B611-F0B6F730DF36}" dt="2023-12-22T17:53:53.242" v="674" actId="478"/>
          <ac:spMkLst>
            <pc:docMk/>
            <pc:sldMk cId="1076267374" sldId="2145706587"/>
            <ac:spMk id="20" creationId="{69AE89AE-0925-456E-9B2A-E945FAB61649}"/>
          </ac:spMkLst>
        </pc:spChg>
        <pc:spChg chg="del">
          <ac:chgData name="Bahrami Jovein, Layla (she/her)" userId="564c9fd6-df70-4614-9d39-b1969e2021ac" providerId="ADAL" clId="{FD801BB5-6C41-42BD-B611-F0B6F730DF36}" dt="2023-12-22T17:53:47.666" v="669" actId="478"/>
          <ac:spMkLst>
            <pc:docMk/>
            <pc:sldMk cId="1076267374" sldId="2145706587"/>
            <ac:spMk id="31" creationId="{B36A58B6-698A-475E-9015-A252CBAEFD31}"/>
          </ac:spMkLst>
        </pc:spChg>
        <pc:spChg chg="del">
          <ac:chgData name="Bahrami Jovein, Layla (she/her)" userId="564c9fd6-df70-4614-9d39-b1969e2021ac" providerId="ADAL" clId="{FD801BB5-6C41-42BD-B611-F0B6F730DF36}" dt="2023-12-22T17:53:46.113" v="668" actId="478"/>
          <ac:spMkLst>
            <pc:docMk/>
            <pc:sldMk cId="1076267374" sldId="2145706587"/>
            <ac:spMk id="32" creationId="{F432760E-3E06-4072-8BAC-863D930E71B8}"/>
          </ac:spMkLst>
        </pc:spChg>
        <pc:spChg chg="del">
          <ac:chgData name="Bahrami Jovein, Layla (she/her)" userId="564c9fd6-df70-4614-9d39-b1969e2021ac" providerId="ADAL" clId="{FD801BB5-6C41-42BD-B611-F0B6F730DF36}" dt="2023-12-22T17:53:50.136" v="671" actId="478"/>
          <ac:spMkLst>
            <pc:docMk/>
            <pc:sldMk cId="1076267374" sldId="2145706587"/>
            <ac:spMk id="33" creationId="{9E46BF61-F51F-4A85-B73E-744771FDF954}"/>
          </ac:spMkLst>
        </pc:spChg>
        <pc:spChg chg="del">
          <ac:chgData name="Bahrami Jovein, Layla (she/her)" userId="564c9fd6-df70-4614-9d39-b1969e2021ac" providerId="ADAL" clId="{FD801BB5-6C41-42BD-B611-F0B6F730DF36}" dt="2023-12-22T17:53:48.788" v="670" actId="478"/>
          <ac:spMkLst>
            <pc:docMk/>
            <pc:sldMk cId="1076267374" sldId="2145706587"/>
            <ac:spMk id="34" creationId="{1DC4AEE5-4547-403A-BEF4-9240C43CBF05}"/>
          </ac:spMkLst>
        </pc:spChg>
        <pc:grpChg chg="del mod">
          <ac:chgData name="Bahrami Jovein, Layla (she/her)" userId="564c9fd6-df70-4614-9d39-b1969e2021ac" providerId="ADAL" clId="{FD801BB5-6C41-42BD-B611-F0B6F730DF36}" dt="2023-12-22T17:57:26.302" v="706" actId="478"/>
          <ac:grpSpMkLst>
            <pc:docMk/>
            <pc:sldMk cId="1076267374" sldId="2145706587"/>
            <ac:grpSpMk id="15" creationId="{AFC8A2DC-8F45-42F3-80AC-D348C5DF3F3B}"/>
          </ac:grpSpMkLst>
        </pc:grpChg>
        <pc:picChg chg="add mod">
          <ac:chgData name="Bahrami Jovein, Layla (she/her)" userId="564c9fd6-df70-4614-9d39-b1969e2021ac" providerId="ADAL" clId="{FD801BB5-6C41-42BD-B611-F0B6F730DF36}" dt="2023-12-22T17:56:51.714" v="703" actId="1076"/>
          <ac:picMkLst>
            <pc:docMk/>
            <pc:sldMk cId="1076267374" sldId="2145706587"/>
            <ac:picMk id="3" creationId="{73A3A690-B9AD-2142-ACAF-E02E96F43253}"/>
          </ac:picMkLst>
        </pc:picChg>
        <pc:picChg chg="add mod">
          <ac:chgData name="Bahrami Jovein, Layla (she/her)" userId="564c9fd6-df70-4614-9d39-b1969e2021ac" providerId="ADAL" clId="{FD801BB5-6C41-42BD-B611-F0B6F730DF36}" dt="2023-12-22T17:59:53.482" v="783" actId="1076"/>
          <ac:picMkLst>
            <pc:docMk/>
            <pc:sldMk cId="1076267374" sldId="2145706587"/>
            <ac:picMk id="4" creationId="{DC09D156-6DBB-E9AF-88A4-CF886440B9C2}"/>
          </ac:picMkLst>
        </pc:picChg>
        <pc:picChg chg="del">
          <ac:chgData name="Bahrami Jovein, Layla (she/her)" userId="564c9fd6-df70-4614-9d39-b1969e2021ac" providerId="ADAL" clId="{FD801BB5-6C41-42BD-B611-F0B6F730DF36}" dt="2023-12-22T17:53:44.219" v="666" actId="478"/>
          <ac:picMkLst>
            <pc:docMk/>
            <pc:sldMk cId="1076267374" sldId="2145706587"/>
            <ac:picMk id="28" creationId="{A65E71F7-3061-40FF-8881-C97D81E7F23A}"/>
          </ac:picMkLst>
        </pc:picChg>
        <pc:picChg chg="del">
          <ac:chgData name="Bahrami Jovein, Layla (she/her)" userId="564c9fd6-df70-4614-9d39-b1969e2021ac" providerId="ADAL" clId="{FD801BB5-6C41-42BD-B611-F0B6F730DF36}" dt="2023-12-22T17:53:51.716" v="673" actId="478"/>
          <ac:picMkLst>
            <pc:docMk/>
            <pc:sldMk cId="1076267374" sldId="2145706587"/>
            <ac:picMk id="29" creationId="{5DCE29B1-9D78-4A90-8529-B912579FF308}"/>
          </ac:picMkLst>
        </pc:picChg>
        <pc:picChg chg="del">
          <ac:chgData name="Bahrami Jovein, Layla (she/her)" userId="564c9fd6-df70-4614-9d39-b1969e2021ac" providerId="ADAL" clId="{FD801BB5-6C41-42BD-B611-F0B6F730DF36}" dt="2023-12-22T17:53:51.067" v="672" actId="478"/>
          <ac:picMkLst>
            <pc:docMk/>
            <pc:sldMk cId="1076267374" sldId="2145706587"/>
            <ac:picMk id="30" creationId="{B6E499FE-88A7-4934-ABA0-890D707A9919}"/>
          </ac:picMkLst>
        </pc:picChg>
      </pc:sldChg>
      <pc:sldChg chg="del">
        <pc:chgData name="Bahrami Jovein, Layla (she/her)" userId="564c9fd6-df70-4614-9d39-b1969e2021ac" providerId="ADAL" clId="{FD801BB5-6C41-42BD-B611-F0B6F730DF36}" dt="2023-12-22T18:33:19.113" v="1120" actId="47"/>
        <pc:sldMkLst>
          <pc:docMk/>
          <pc:sldMk cId="1185692557" sldId="2145872122"/>
        </pc:sldMkLst>
      </pc:sldChg>
      <pc:sldChg chg="del">
        <pc:chgData name="Bahrami Jovein, Layla (she/her)" userId="564c9fd6-df70-4614-9d39-b1969e2021ac" providerId="ADAL" clId="{FD801BB5-6C41-42BD-B611-F0B6F730DF36}" dt="2023-12-22T18:30:52.815" v="1099" actId="47"/>
        <pc:sldMkLst>
          <pc:docMk/>
          <pc:sldMk cId="3383837479" sldId="2145872161"/>
        </pc:sldMkLst>
      </pc:sldChg>
      <pc:sldChg chg="del">
        <pc:chgData name="Bahrami Jovein, Layla (she/her)" userId="564c9fd6-df70-4614-9d39-b1969e2021ac" providerId="ADAL" clId="{FD801BB5-6C41-42BD-B611-F0B6F730DF36}" dt="2023-12-22T18:30:42.529" v="1097" actId="47"/>
        <pc:sldMkLst>
          <pc:docMk/>
          <pc:sldMk cId="1068183813" sldId="2145872162"/>
        </pc:sldMkLst>
      </pc:sldChg>
      <pc:sldChg chg="del">
        <pc:chgData name="Bahrami Jovein, Layla (she/her)" userId="564c9fd6-df70-4614-9d39-b1969e2021ac" providerId="ADAL" clId="{FD801BB5-6C41-42BD-B611-F0B6F730DF36}" dt="2023-12-22T18:33:21.238" v="1121" actId="47"/>
        <pc:sldMkLst>
          <pc:docMk/>
          <pc:sldMk cId="1651149501" sldId="2145872167"/>
        </pc:sldMkLst>
      </pc:sldChg>
      <pc:sldChg chg="del">
        <pc:chgData name="Bahrami Jovein, Layla (she/her)" userId="564c9fd6-df70-4614-9d39-b1969e2021ac" providerId="ADAL" clId="{FD801BB5-6C41-42BD-B611-F0B6F730DF36}" dt="2023-12-22T18:30:33.327" v="1095" actId="47"/>
        <pc:sldMkLst>
          <pc:docMk/>
          <pc:sldMk cId="3803315824" sldId="2145872181"/>
        </pc:sldMkLst>
      </pc:sldChg>
      <pc:sldChg chg="addSp delSp modSp mod ord">
        <pc:chgData name="Bahrami Jovein, Layla (she/her)" userId="564c9fd6-df70-4614-9d39-b1969e2021ac" providerId="ADAL" clId="{FD801BB5-6C41-42BD-B611-F0B6F730DF36}" dt="2023-12-22T18:32:24.350" v="1113"/>
        <pc:sldMkLst>
          <pc:docMk/>
          <pc:sldMk cId="2396347546" sldId="2146847328"/>
        </pc:sldMkLst>
        <pc:spChg chg="mod">
          <ac:chgData name="Bahrami Jovein, Layla (she/her)" userId="564c9fd6-df70-4614-9d39-b1969e2021ac" providerId="ADAL" clId="{FD801BB5-6C41-42BD-B611-F0B6F730DF36}" dt="2023-12-22T17:35:05.297" v="448" actId="1076"/>
          <ac:spMkLst>
            <pc:docMk/>
            <pc:sldMk cId="2396347546" sldId="2146847328"/>
            <ac:spMk id="3" creationId="{CF180EB9-C5CC-4B3C-BEFB-A75E32D509DD}"/>
          </ac:spMkLst>
        </pc:spChg>
        <pc:spChg chg="mod">
          <ac:chgData name="Bahrami Jovein, Layla (she/her)" userId="564c9fd6-df70-4614-9d39-b1969e2021ac" providerId="ADAL" clId="{FD801BB5-6C41-42BD-B611-F0B6F730DF36}" dt="2023-12-22T17:37:19.893" v="558" actId="1076"/>
          <ac:spMkLst>
            <pc:docMk/>
            <pc:sldMk cId="2396347546" sldId="2146847328"/>
            <ac:spMk id="6" creationId="{5786AB82-6328-4C2B-9D9B-CC39AC0621E1}"/>
          </ac:spMkLst>
        </pc:spChg>
        <pc:spChg chg="add del">
          <ac:chgData name="Bahrami Jovein, Layla (she/her)" userId="564c9fd6-df70-4614-9d39-b1969e2021ac" providerId="ADAL" clId="{FD801BB5-6C41-42BD-B611-F0B6F730DF36}" dt="2023-12-22T17:37:16.980" v="550" actId="478"/>
          <ac:spMkLst>
            <pc:docMk/>
            <pc:sldMk cId="2396347546" sldId="2146847328"/>
            <ac:spMk id="7" creationId="{3A2A0307-393C-4C53-A6F6-1AE61258FC82}"/>
          </ac:spMkLst>
        </pc:spChg>
        <pc:spChg chg="del">
          <ac:chgData name="Bahrami Jovein, Layla (she/her)" userId="564c9fd6-df70-4614-9d39-b1969e2021ac" providerId="ADAL" clId="{FD801BB5-6C41-42BD-B611-F0B6F730DF36}" dt="2023-12-22T17:37:33.663" v="562" actId="478"/>
          <ac:spMkLst>
            <pc:docMk/>
            <pc:sldMk cId="2396347546" sldId="2146847328"/>
            <ac:spMk id="9" creationId="{8B5AD863-4FD4-4350-A8AC-656F394E1E79}"/>
          </ac:spMkLst>
        </pc:spChg>
        <pc:picChg chg="mod">
          <ac:chgData name="Bahrami Jovein, Layla (she/her)" userId="564c9fd6-df70-4614-9d39-b1969e2021ac" providerId="ADAL" clId="{FD801BB5-6C41-42BD-B611-F0B6F730DF36}" dt="2023-12-22T17:37:20.453" v="559" actId="1076"/>
          <ac:picMkLst>
            <pc:docMk/>
            <pc:sldMk cId="2396347546" sldId="2146847328"/>
            <ac:picMk id="4" creationId="{40FDDF32-53B8-4F65-8E18-D8E2EE30E58B}"/>
          </ac:picMkLst>
        </pc:picChg>
        <pc:picChg chg="mod">
          <ac:chgData name="Bahrami Jovein, Layla (she/her)" userId="564c9fd6-df70-4614-9d39-b1969e2021ac" providerId="ADAL" clId="{FD801BB5-6C41-42BD-B611-F0B6F730DF36}" dt="2023-12-22T17:37:21.882" v="561" actId="1076"/>
          <ac:picMkLst>
            <pc:docMk/>
            <pc:sldMk cId="2396347546" sldId="2146847328"/>
            <ac:picMk id="8" creationId="{FBB061C3-4600-4FB4-9168-3BB4EE68FF71}"/>
          </ac:picMkLst>
        </pc:picChg>
      </pc:sldChg>
      <pc:sldChg chg="del">
        <pc:chgData name="Bahrami Jovein, Layla (she/her)" userId="564c9fd6-df70-4614-9d39-b1969e2021ac" providerId="ADAL" clId="{FD801BB5-6C41-42BD-B611-F0B6F730DF36}" dt="2023-12-14T15:12:27.719" v="8" actId="47"/>
        <pc:sldMkLst>
          <pc:docMk/>
          <pc:sldMk cId="4113972924" sldId="2146847329"/>
        </pc:sldMkLst>
      </pc:sldChg>
      <pc:sldChg chg="del">
        <pc:chgData name="Bahrami Jovein, Layla (she/her)" userId="564c9fd6-df70-4614-9d39-b1969e2021ac" providerId="ADAL" clId="{FD801BB5-6C41-42BD-B611-F0B6F730DF36}" dt="2023-12-22T17:46:46.233" v="642" actId="47"/>
        <pc:sldMkLst>
          <pc:docMk/>
          <pc:sldMk cId="2681314993" sldId="2146847333"/>
        </pc:sldMkLst>
      </pc:sldChg>
      <pc:sldChg chg="del">
        <pc:chgData name="Bahrami Jovein, Layla (she/her)" userId="564c9fd6-df70-4614-9d39-b1969e2021ac" providerId="ADAL" clId="{FD801BB5-6C41-42BD-B611-F0B6F730DF36}" dt="2023-12-22T18:30:22.098" v="1093" actId="47"/>
        <pc:sldMkLst>
          <pc:docMk/>
          <pc:sldMk cId="63716753" sldId="2147477468"/>
        </pc:sldMkLst>
      </pc:sldChg>
      <pc:sldChg chg="del">
        <pc:chgData name="Bahrami Jovein, Layla (she/her)" userId="564c9fd6-df70-4614-9d39-b1969e2021ac" providerId="ADAL" clId="{FD801BB5-6C41-42BD-B611-F0B6F730DF36}" dt="2023-12-22T18:32:48.993" v="1116" actId="47"/>
        <pc:sldMkLst>
          <pc:docMk/>
          <pc:sldMk cId="2602430662" sldId="2147477471"/>
        </pc:sldMkLst>
      </pc:sldChg>
      <pc:sldChg chg="del">
        <pc:chgData name="Bahrami Jovein, Layla (she/her)" userId="564c9fd6-df70-4614-9d39-b1969e2021ac" providerId="ADAL" clId="{FD801BB5-6C41-42BD-B611-F0B6F730DF36}" dt="2023-12-22T18:33:01.006" v="1118" actId="47"/>
        <pc:sldMkLst>
          <pc:docMk/>
          <pc:sldMk cId="755667649" sldId="2147477473"/>
        </pc:sldMkLst>
      </pc:sldChg>
      <pc:sldChg chg="del">
        <pc:chgData name="Bahrami Jovein, Layla (she/her)" userId="564c9fd6-df70-4614-9d39-b1969e2021ac" providerId="ADAL" clId="{FD801BB5-6C41-42BD-B611-F0B6F730DF36}" dt="2023-12-22T18:31:49.009" v="1103" actId="47"/>
        <pc:sldMkLst>
          <pc:docMk/>
          <pc:sldMk cId="2639260183" sldId="2147477476"/>
        </pc:sldMkLst>
      </pc:sldChg>
      <pc:sldChg chg="del">
        <pc:chgData name="Bahrami Jovein, Layla (she/her)" userId="564c9fd6-df70-4614-9d39-b1969e2021ac" providerId="ADAL" clId="{FD801BB5-6C41-42BD-B611-F0B6F730DF36}" dt="2023-12-22T18:31:50.752" v="1104" actId="47"/>
        <pc:sldMkLst>
          <pc:docMk/>
          <pc:sldMk cId="2362850330" sldId="2147477477"/>
        </pc:sldMkLst>
      </pc:sldChg>
      <pc:sldChg chg="del">
        <pc:chgData name="Bahrami Jovein, Layla (she/her)" userId="564c9fd6-df70-4614-9d39-b1969e2021ac" providerId="ADAL" clId="{FD801BB5-6C41-42BD-B611-F0B6F730DF36}" dt="2023-12-22T18:31:51.860" v="1105" actId="47"/>
        <pc:sldMkLst>
          <pc:docMk/>
          <pc:sldMk cId="2315886822" sldId="2147477478"/>
        </pc:sldMkLst>
      </pc:sldChg>
      <pc:sldChg chg="del">
        <pc:chgData name="Bahrami Jovein, Layla (she/her)" userId="564c9fd6-df70-4614-9d39-b1969e2021ac" providerId="ADAL" clId="{FD801BB5-6C41-42BD-B611-F0B6F730DF36}" dt="2023-12-22T18:32:25.101" v="1114" actId="47"/>
        <pc:sldMkLst>
          <pc:docMk/>
          <pc:sldMk cId="3720795046" sldId="2147477479"/>
        </pc:sldMkLst>
      </pc:sldChg>
      <pc:sldChg chg="modSp mod">
        <pc:chgData name="Bahrami Jovein, Layla (she/her)" userId="564c9fd6-df70-4614-9d39-b1969e2021ac" providerId="ADAL" clId="{FD801BB5-6C41-42BD-B611-F0B6F730DF36}" dt="2024-01-03T10:46:16.883" v="1428" actId="20577"/>
        <pc:sldMkLst>
          <pc:docMk/>
          <pc:sldMk cId="146764026" sldId="2147477486"/>
        </pc:sldMkLst>
        <pc:spChg chg="mod">
          <ac:chgData name="Bahrami Jovein, Layla (she/her)" userId="564c9fd6-df70-4614-9d39-b1969e2021ac" providerId="ADAL" clId="{FD801BB5-6C41-42BD-B611-F0B6F730DF36}" dt="2024-01-03T10:46:16.883" v="1428" actId="20577"/>
          <ac:spMkLst>
            <pc:docMk/>
            <pc:sldMk cId="146764026" sldId="2147477486"/>
            <ac:spMk id="2" creationId="{085535D4-D810-FCF5-8EB8-30CD82E3D354}"/>
          </ac:spMkLst>
        </pc:spChg>
      </pc:sldChg>
      <pc:sldChg chg="modSp mod">
        <pc:chgData name="Bahrami Jovein, Layla (she/her)" userId="564c9fd6-df70-4614-9d39-b1969e2021ac" providerId="ADAL" clId="{FD801BB5-6C41-42BD-B611-F0B6F730DF36}" dt="2024-01-03T10:36:24.220" v="1156" actId="20577"/>
        <pc:sldMkLst>
          <pc:docMk/>
          <pc:sldMk cId="769345967" sldId="2147477641"/>
        </pc:sldMkLst>
        <pc:spChg chg="mod">
          <ac:chgData name="Bahrami Jovein, Layla (she/her)" userId="564c9fd6-df70-4614-9d39-b1969e2021ac" providerId="ADAL" clId="{FD801BB5-6C41-42BD-B611-F0B6F730DF36}" dt="2024-01-03T10:36:24.220" v="1156" actId="20577"/>
          <ac:spMkLst>
            <pc:docMk/>
            <pc:sldMk cId="769345967" sldId="2147477641"/>
            <ac:spMk id="3" creationId="{00000000-0000-0000-0000-000000000000}"/>
          </ac:spMkLst>
        </pc:spChg>
      </pc:sldChg>
      <pc:sldChg chg="mod modShow">
        <pc:chgData name="Bahrami Jovein, Layla (she/her)" userId="564c9fd6-df70-4614-9d39-b1969e2021ac" providerId="ADAL" clId="{FD801BB5-6C41-42BD-B611-F0B6F730DF36}" dt="2024-01-09T15:58:05.232" v="2261" actId="729"/>
        <pc:sldMkLst>
          <pc:docMk/>
          <pc:sldMk cId="720135077" sldId="2147477654"/>
        </pc:sldMkLst>
      </pc:sldChg>
      <pc:sldChg chg="modSp mod">
        <pc:chgData name="Bahrami Jovein, Layla (she/her)" userId="564c9fd6-df70-4614-9d39-b1969e2021ac" providerId="ADAL" clId="{FD801BB5-6C41-42BD-B611-F0B6F730DF36}" dt="2024-01-03T10:45:33.873" v="1414" actId="20577"/>
        <pc:sldMkLst>
          <pc:docMk/>
          <pc:sldMk cId="3335172176" sldId="2147477661"/>
        </pc:sldMkLst>
        <pc:graphicFrameChg chg="mod modGraphic">
          <ac:chgData name="Bahrami Jovein, Layla (she/her)" userId="564c9fd6-df70-4614-9d39-b1969e2021ac" providerId="ADAL" clId="{FD801BB5-6C41-42BD-B611-F0B6F730DF36}" dt="2024-01-03T10:45:33.873" v="1414" actId="20577"/>
          <ac:graphicFrameMkLst>
            <pc:docMk/>
            <pc:sldMk cId="3335172176" sldId="2147477661"/>
            <ac:graphicFrameMk id="5" creationId="{416F253E-86A2-4EC3-87C8-A3D626B36ADC}"/>
          </ac:graphicFrameMkLst>
        </pc:graphicFrameChg>
      </pc:sldChg>
      <pc:sldChg chg="del">
        <pc:chgData name="Bahrami Jovein, Layla (she/her)" userId="564c9fd6-df70-4614-9d39-b1969e2021ac" providerId="ADAL" clId="{FD801BB5-6C41-42BD-B611-F0B6F730DF36}" dt="2023-12-22T17:26:58.616" v="266" actId="47"/>
        <pc:sldMkLst>
          <pc:docMk/>
          <pc:sldMk cId="2806207845" sldId="2147477668"/>
        </pc:sldMkLst>
      </pc:sldChg>
      <pc:sldChg chg="del">
        <pc:chgData name="Bahrami Jovein, Layla (she/her)" userId="564c9fd6-df70-4614-9d39-b1969e2021ac" providerId="ADAL" clId="{FD801BB5-6C41-42BD-B611-F0B6F730DF36}" dt="2023-12-22T17:33:45.635" v="441" actId="47"/>
        <pc:sldMkLst>
          <pc:docMk/>
          <pc:sldMk cId="3398652587" sldId="2147477671"/>
        </pc:sldMkLst>
      </pc:sldChg>
      <pc:sldChg chg="del">
        <pc:chgData name="Bahrami Jovein, Layla (she/her)" userId="564c9fd6-df70-4614-9d39-b1969e2021ac" providerId="ADAL" clId="{FD801BB5-6C41-42BD-B611-F0B6F730DF36}" dt="2023-12-22T17:33:44.728" v="440" actId="47"/>
        <pc:sldMkLst>
          <pc:docMk/>
          <pc:sldMk cId="2004850091" sldId="2147477672"/>
        </pc:sldMkLst>
      </pc:sldChg>
      <pc:sldChg chg="del">
        <pc:chgData name="Bahrami Jovein, Layla (she/her)" userId="564c9fd6-df70-4614-9d39-b1969e2021ac" providerId="ADAL" clId="{FD801BB5-6C41-42BD-B611-F0B6F730DF36}" dt="2023-12-22T17:26:59.478" v="267" actId="47"/>
        <pc:sldMkLst>
          <pc:docMk/>
          <pc:sldMk cId="1816592446" sldId="2147477673"/>
        </pc:sldMkLst>
      </pc:sldChg>
      <pc:sldChg chg="modSp mod modShow">
        <pc:chgData name="Bahrami Jovein, Layla (she/her)" userId="564c9fd6-df70-4614-9d39-b1969e2021ac" providerId="ADAL" clId="{FD801BB5-6C41-42BD-B611-F0B6F730DF36}" dt="2024-01-09T15:57:56.355" v="2258" actId="729"/>
        <pc:sldMkLst>
          <pc:docMk/>
          <pc:sldMk cId="1449928660" sldId="2147477674"/>
        </pc:sldMkLst>
        <pc:spChg chg="mod">
          <ac:chgData name="Bahrami Jovein, Layla (she/her)" userId="564c9fd6-df70-4614-9d39-b1969e2021ac" providerId="ADAL" clId="{FD801BB5-6C41-42BD-B611-F0B6F730DF36}" dt="2023-12-22T18:14:08.124" v="933" actId="12"/>
          <ac:spMkLst>
            <pc:docMk/>
            <pc:sldMk cId="1449928660" sldId="2147477674"/>
            <ac:spMk id="3" creationId="{F29F6057-CBFA-5A78-DBE3-0166C7C3A5FF}"/>
          </ac:spMkLst>
        </pc:spChg>
      </pc:sldChg>
      <pc:sldChg chg="modSp del mod">
        <pc:chgData name="Bahrami Jovein, Layla (she/her)" userId="564c9fd6-df70-4614-9d39-b1969e2021ac" providerId="ADAL" clId="{FD801BB5-6C41-42BD-B611-F0B6F730DF36}" dt="2023-12-22T18:02:39.272" v="817" actId="47"/>
        <pc:sldMkLst>
          <pc:docMk/>
          <pc:sldMk cId="2061667332" sldId="2147477675"/>
        </pc:sldMkLst>
        <pc:spChg chg="mod">
          <ac:chgData name="Bahrami Jovein, Layla (she/her)" userId="564c9fd6-df70-4614-9d39-b1969e2021ac" providerId="ADAL" clId="{FD801BB5-6C41-42BD-B611-F0B6F730DF36}" dt="2023-12-22T18:02:37.550" v="816" actId="6549"/>
          <ac:spMkLst>
            <pc:docMk/>
            <pc:sldMk cId="2061667332" sldId="2147477675"/>
            <ac:spMk id="2" creationId="{0BD5F5D9-296A-6955-AF04-09F68C577DAD}"/>
          </ac:spMkLst>
        </pc:spChg>
      </pc:sldChg>
      <pc:sldChg chg="modSp del mod">
        <pc:chgData name="Bahrami Jovein, Layla (she/her)" userId="564c9fd6-df70-4614-9d39-b1969e2021ac" providerId="ADAL" clId="{FD801BB5-6C41-42BD-B611-F0B6F730DF36}" dt="2023-12-22T18:00:00.954" v="784" actId="47"/>
        <pc:sldMkLst>
          <pc:docMk/>
          <pc:sldMk cId="1754829383" sldId="2147477676"/>
        </pc:sldMkLst>
        <pc:spChg chg="mod">
          <ac:chgData name="Bahrami Jovein, Layla (she/her)" userId="564c9fd6-df70-4614-9d39-b1969e2021ac" providerId="ADAL" clId="{FD801BB5-6C41-42BD-B611-F0B6F730DF36}" dt="2023-12-22T17:52:21.208" v="656" actId="20577"/>
          <ac:spMkLst>
            <pc:docMk/>
            <pc:sldMk cId="1754829383" sldId="2147477676"/>
            <ac:spMk id="2" creationId="{2C8E0C8B-E857-F904-3BED-E66272CCE846}"/>
          </ac:spMkLst>
        </pc:spChg>
      </pc:sldChg>
      <pc:sldChg chg="addSp delSp del mod">
        <pc:chgData name="Bahrami Jovein, Layla (she/her)" userId="564c9fd6-df70-4614-9d39-b1969e2021ac" providerId="ADAL" clId="{FD801BB5-6C41-42BD-B611-F0B6F730DF36}" dt="2023-12-22T18:23:19.320" v="1044" actId="47"/>
        <pc:sldMkLst>
          <pc:docMk/>
          <pc:sldMk cId="2205866323" sldId="2147477679"/>
        </pc:sldMkLst>
        <pc:picChg chg="add del">
          <ac:chgData name="Bahrami Jovein, Layla (she/her)" userId="564c9fd6-df70-4614-9d39-b1969e2021ac" providerId="ADAL" clId="{FD801BB5-6C41-42BD-B611-F0B6F730DF36}" dt="2023-12-22T18:14:52.364" v="935" actId="478"/>
          <ac:picMkLst>
            <pc:docMk/>
            <pc:sldMk cId="2205866323" sldId="2147477679"/>
            <ac:picMk id="4" creationId="{1ADC9F55-24D3-1570-91EE-E77AC9C61CFA}"/>
          </ac:picMkLst>
        </pc:picChg>
      </pc:sldChg>
      <pc:sldChg chg="del">
        <pc:chgData name="Bahrami Jovein, Layla (she/her)" userId="564c9fd6-df70-4614-9d39-b1969e2021ac" providerId="ADAL" clId="{FD801BB5-6C41-42BD-B611-F0B6F730DF36}" dt="2023-12-22T18:26:14.109" v="1069" actId="47"/>
        <pc:sldMkLst>
          <pc:docMk/>
          <pc:sldMk cId="3496027436" sldId="2147477680"/>
        </pc:sldMkLst>
      </pc:sldChg>
      <pc:sldChg chg="del">
        <pc:chgData name="Bahrami Jovein, Layla (she/her)" userId="564c9fd6-df70-4614-9d39-b1969e2021ac" providerId="ADAL" clId="{FD801BB5-6C41-42BD-B611-F0B6F730DF36}" dt="2023-12-22T18:27:19.466" v="1090" actId="47"/>
        <pc:sldMkLst>
          <pc:docMk/>
          <pc:sldMk cId="2885513087" sldId="2147477681"/>
        </pc:sldMkLst>
      </pc:sldChg>
      <pc:sldChg chg="del mod modShow addCm">
        <pc:chgData name="Bahrami Jovein, Layla (she/her)" userId="564c9fd6-df70-4614-9d39-b1969e2021ac" providerId="ADAL" clId="{FD801BB5-6C41-42BD-B611-F0B6F730DF36}" dt="2024-01-03T16:54:12.751" v="2219" actId="47"/>
        <pc:sldMkLst>
          <pc:docMk/>
          <pc:sldMk cId="4159378235" sldId="2147477682"/>
        </pc:sldMkLst>
      </pc:sldChg>
      <pc:sldChg chg="del">
        <pc:chgData name="Bahrami Jovein, Layla (she/her)" userId="564c9fd6-df70-4614-9d39-b1969e2021ac" providerId="ADAL" clId="{FD801BB5-6C41-42BD-B611-F0B6F730DF36}" dt="2023-12-22T17:21:38.863" v="124" actId="47"/>
        <pc:sldMkLst>
          <pc:docMk/>
          <pc:sldMk cId="4176582913" sldId="2147477683"/>
        </pc:sldMkLst>
      </pc:sldChg>
      <pc:sldChg chg="del mod modShow">
        <pc:chgData name="Bahrami Jovein, Layla (she/her)" userId="564c9fd6-df70-4614-9d39-b1969e2021ac" providerId="ADAL" clId="{FD801BB5-6C41-42BD-B611-F0B6F730DF36}" dt="2024-01-03T16:54:18.259" v="2220" actId="47"/>
        <pc:sldMkLst>
          <pc:docMk/>
          <pc:sldMk cId="2232357808" sldId="2147477684"/>
        </pc:sldMkLst>
      </pc:sldChg>
      <pc:sldChg chg="addSp delSp modSp mod">
        <pc:chgData name="Bahrami Jovein, Layla (she/her)" userId="564c9fd6-df70-4614-9d39-b1969e2021ac" providerId="ADAL" clId="{FD801BB5-6C41-42BD-B611-F0B6F730DF36}" dt="2023-12-22T17:50:59.579" v="655" actId="1076"/>
        <pc:sldMkLst>
          <pc:docMk/>
          <pc:sldMk cId="3760384971" sldId="2147477685"/>
        </pc:sldMkLst>
        <pc:spChg chg="add del">
          <ac:chgData name="Bahrami Jovein, Layla (she/her)" userId="564c9fd6-df70-4614-9d39-b1969e2021ac" providerId="ADAL" clId="{FD801BB5-6C41-42BD-B611-F0B6F730DF36}" dt="2023-12-22T17:50:27.145" v="646" actId="478"/>
          <ac:spMkLst>
            <pc:docMk/>
            <pc:sldMk cId="3760384971" sldId="2147477685"/>
            <ac:spMk id="4" creationId="{FEA0D519-111B-9D08-0399-07D072D96430}"/>
          </ac:spMkLst>
        </pc:spChg>
        <pc:picChg chg="del">
          <ac:chgData name="Bahrami Jovein, Layla (she/her)" userId="564c9fd6-df70-4614-9d39-b1969e2021ac" providerId="ADAL" clId="{FD801BB5-6C41-42BD-B611-F0B6F730DF36}" dt="2023-12-22T17:50:18.626" v="644" actId="478"/>
          <ac:picMkLst>
            <pc:docMk/>
            <pc:sldMk cId="3760384971" sldId="2147477685"/>
            <ac:picMk id="3" creationId="{C97057BD-1341-5F52-0CE7-3AB10663B790}"/>
          </ac:picMkLst>
        </pc:picChg>
        <pc:picChg chg="add del mod">
          <ac:chgData name="Bahrami Jovein, Layla (she/her)" userId="564c9fd6-df70-4614-9d39-b1969e2021ac" providerId="ADAL" clId="{FD801BB5-6C41-42BD-B611-F0B6F730DF36}" dt="2023-12-22T17:50:50.489" v="652" actId="478"/>
          <ac:picMkLst>
            <pc:docMk/>
            <pc:sldMk cId="3760384971" sldId="2147477685"/>
            <ac:picMk id="5" creationId="{84E86420-21BF-ADE9-DF3B-88D953B3F6BB}"/>
          </ac:picMkLst>
        </pc:picChg>
        <pc:picChg chg="add mod">
          <ac:chgData name="Bahrami Jovein, Layla (she/her)" userId="564c9fd6-df70-4614-9d39-b1969e2021ac" providerId="ADAL" clId="{FD801BB5-6C41-42BD-B611-F0B6F730DF36}" dt="2023-12-22T17:50:59.579" v="655" actId="1076"/>
          <ac:picMkLst>
            <pc:docMk/>
            <pc:sldMk cId="3760384971" sldId="2147477685"/>
            <ac:picMk id="6" creationId="{7E6E466A-090D-687D-17AB-EF322A4D19E9}"/>
          </ac:picMkLst>
        </pc:picChg>
      </pc:sldChg>
      <pc:sldChg chg="addSp delSp modSp add mod">
        <pc:chgData name="Bahrami Jovein, Layla (she/her)" userId="564c9fd6-df70-4614-9d39-b1969e2021ac" providerId="ADAL" clId="{FD801BB5-6C41-42BD-B611-F0B6F730DF36}" dt="2023-12-22T17:33:40.650" v="439" actId="20577"/>
        <pc:sldMkLst>
          <pc:docMk/>
          <pc:sldMk cId="3944702896" sldId="2147477686"/>
        </pc:sldMkLst>
        <pc:spChg chg="mod">
          <ac:chgData name="Bahrami Jovein, Layla (she/her)" userId="564c9fd6-df70-4614-9d39-b1969e2021ac" providerId="ADAL" clId="{FD801BB5-6C41-42BD-B611-F0B6F730DF36}" dt="2023-12-22T17:33:40.650" v="439" actId="20577"/>
          <ac:spMkLst>
            <pc:docMk/>
            <pc:sldMk cId="3944702896" sldId="2147477686"/>
            <ac:spMk id="2" creationId="{74536499-0528-498A-ABDE-B0F4B7B1A18B}"/>
          </ac:spMkLst>
        </pc:spChg>
        <pc:spChg chg="mod">
          <ac:chgData name="Bahrami Jovein, Layla (she/her)" userId="564c9fd6-df70-4614-9d39-b1969e2021ac" providerId="ADAL" clId="{FD801BB5-6C41-42BD-B611-F0B6F730DF36}" dt="2023-12-22T17:33:21.419" v="414" actId="1076"/>
          <ac:spMkLst>
            <pc:docMk/>
            <pc:sldMk cId="3944702896" sldId="2147477686"/>
            <ac:spMk id="3" creationId="{367C6387-5720-CACC-E6A0-F72B83B4C577}"/>
          </ac:spMkLst>
        </pc:spChg>
        <pc:spChg chg="add mod">
          <ac:chgData name="Bahrami Jovein, Layla (she/her)" userId="564c9fd6-df70-4614-9d39-b1969e2021ac" providerId="ADAL" clId="{FD801BB5-6C41-42BD-B611-F0B6F730DF36}" dt="2023-12-22T17:30:14.964" v="360" actId="20577"/>
          <ac:spMkLst>
            <pc:docMk/>
            <pc:sldMk cId="3944702896" sldId="2147477686"/>
            <ac:spMk id="7" creationId="{188EED42-503A-FBE7-0B38-50864BD31CFF}"/>
          </ac:spMkLst>
        </pc:spChg>
        <pc:spChg chg="mod">
          <ac:chgData name="Bahrami Jovein, Layla (she/her)" userId="564c9fd6-df70-4614-9d39-b1969e2021ac" providerId="ADAL" clId="{FD801BB5-6C41-42BD-B611-F0B6F730DF36}" dt="2023-12-22T17:30:05.821" v="357" actId="404"/>
          <ac:spMkLst>
            <pc:docMk/>
            <pc:sldMk cId="3944702896" sldId="2147477686"/>
            <ac:spMk id="13" creationId="{8BC6A2F5-9D4B-455E-ABFD-CD664610CB9F}"/>
          </ac:spMkLst>
        </pc:spChg>
        <pc:spChg chg="mod">
          <ac:chgData name="Bahrami Jovein, Layla (she/her)" userId="564c9fd6-df70-4614-9d39-b1969e2021ac" providerId="ADAL" clId="{FD801BB5-6C41-42BD-B611-F0B6F730DF36}" dt="2023-12-22T17:30:08.229" v="358" actId="404"/>
          <ac:spMkLst>
            <pc:docMk/>
            <pc:sldMk cId="3944702896" sldId="2147477686"/>
            <ac:spMk id="14" creationId="{551FBBF0-826F-469D-94C9-798EEA4859E9}"/>
          </ac:spMkLst>
        </pc:spChg>
        <pc:spChg chg="mod">
          <ac:chgData name="Bahrami Jovein, Layla (she/her)" userId="564c9fd6-df70-4614-9d39-b1969e2021ac" providerId="ADAL" clId="{FD801BB5-6C41-42BD-B611-F0B6F730DF36}" dt="2023-12-22T17:28:45.117" v="295" actId="164"/>
          <ac:spMkLst>
            <pc:docMk/>
            <pc:sldMk cId="3944702896" sldId="2147477686"/>
            <ac:spMk id="15" creationId="{F6C25EA1-E7FA-4A9F-AB06-19DDEF81C366}"/>
          </ac:spMkLst>
        </pc:spChg>
        <pc:spChg chg="mod">
          <ac:chgData name="Bahrami Jovein, Layla (she/her)" userId="564c9fd6-df70-4614-9d39-b1969e2021ac" providerId="ADAL" clId="{FD801BB5-6C41-42BD-B611-F0B6F730DF36}" dt="2023-12-22T17:28:45.117" v="295" actId="164"/>
          <ac:spMkLst>
            <pc:docMk/>
            <pc:sldMk cId="3944702896" sldId="2147477686"/>
            <ac:spMk id="17" creationId="{F3EC8CA1-111B-491B-96DD-E122AB0AA912}"/>
          </ac:spMkLst>
        </pc:spChg>
        <pc:spChg chg="mod">
          <ac:chgData name="Bahrami Jovein, Layla (she/her)" userId="564c9fd6-df70-4614-9d39-b1969e2021ac" providerId="ADAL" clId="{FD801BB5-6C41-42BD-B611-F0B6F730DF36}" dt="2023-12-22T17:32:54.451" v="408" actId="1076"/>
          <ac:spMkLst>
            <pc:docMk/>
            <pc:sldMk cId="3944702896" sldId="2147477686"/>
            <ac:spMk id="19" creationId="{4C5320E8-80CD-4626-9E6F-54355E0822CA}"/>
          </ac:spMkLst>
        </pc:spChg>
        <pc:spChg chg="mod">
          <ac:chgData name="Bahrami Jovein, Layla (she/her)" userId="564c9fd6-df70-4614-9d39-b1969e2021ac" providerId="ADAL" clId="{FD801BB5-6C41-42BD-B611-F0B6F730DF36}" dt="2023-12-22T17:32:37.078" v="406" actId="3064"/>
          <ac:spMkLst>
            <pc:docMk/>
            <pc:sldMk cId="3944702896" sldId="2147477686"/>
            <ac:spMk id="24" creationId="{919FFE5D-A421-4510-BA61-342F21A32097}"/>
          </ac:spMkLst>
        </pc:spChg>
        <pc:grpChg chg="add mod">
          <ac:chgData name="Bahrami Jovein, Layla (she/her)" userId="564c9fd6-df70-4614-9d39-b1969e2021ac" providerId="ADAL" clId="{FD801BB5-6C41-42BD-B611-F0B6F730DF36}" dt="2023-12-22T17:28:49.708" v="296" actId="1076"/>
          <ac:grpSpMkLst>
            <pc:docMk/>
            <pc:sldMk cId="3944702896" sldId="2147477686"/>
            <ac:grpSpMk id="6" creationId="{7FF338A6-C07A-8B6E-79AF-B11845D921FB}"/>
          </ac:grpSpMkLst>
        </pc:grpChg>
        <pc:picChg chg="del">
          <ac:chgData name="Bahrami Jovein, Layla (she/her)" userId="564c9fd6-df70-4614-9d39-b1969e2021ac" providerId="ADAL" clId="{FD801BB5-6C41-42BD-B611-F0B6F730DF36}" dt="2023-12-22T17:27:10.279" v="270" actId="478"/>
          <ac:picMkLst>
            <pc:docMk/>
            <pc:sldMk cId="3944702896" sldId="2147477686"/>
            <ac:picMk id="4" creationId="{C537E151-5C3B-4656-DC52-2B52646F4665}"/>
          </ac:picMkLst>
        </pc:picChg>
        <pc:picChg chg="del">
          <ac:chgData name="Bahrami Jovein, Layla (she/her)" userId="564c9fd6-df70-4614-9d39-b1969e2021ac" providerId="ADAL" clId="{FD801BB5-6C41-42BD-B611-F0B6F730DF36}" dt="2023-12-22T17:27:09.219" v="269" actId="478"/>
          <ac:picMkLst>
            <pc:docMk/>
            <pc:sldMk cId="3944702896" sldId="2147477686"/>
            <ac:picMk id="5" creationId="{D2D4DAC4-0F69-2A51-29EE-3DEFE5D9535A}"/>
          </ac:picMkLst>
        </pc:picChg>
        <pc:picChg chg="add mod">
          <ac:chgData name="Bahrami Jovein, Layla (she/her)" userId="564c9fd6-df70-4614-9d39-b1969e2021ac" providerId="ADAL" clId="{FD801BB5-6C41-42BD-B611-F0B6F730DF36}" dt="2023-12-22T17:30:59.210" v="365" actId="1076"/>
          <ac:picMkLst>
            <pc:docMk/>
            <pc:sldMk cId="3944702896" sldId="2147477686"/>
            <ac:picMk id="8" creationId="{9F7970DB-4773-E756-518C-4A220764B4E4}"/>
          </ac:picMkLst>
        </pc:picChg>
        <pc:picChg chg="add mod">
          <ac:chgData name="Bahrami Jovein, Layla (she/her)" userId="564c9fd6-df70-4614-9d39-b1969e2021ac" providerId="ADAL" clId="{FD801BB5-6C41-42BD-B611-F0B6F730DF36}" dt="2023-12-22T17:33:26.253" v="415" actId="1076"/>
          <ac:picMkLst>
            <pc:docMk/>
            <pc:sldMk cId="3944702896" sldId="2147477686"/>
            <ac:picMk id="9" creationId="{12E25410-9657-22F0-330B-48287E58D7D1}"/>
          </ac:picMkLst>
        </pc:picChg>
        <pc:cxnChg chg="mod">
          <ac:chgData name="Bahrami Jovein, Layla (she/her)" userId="564c9fd6-df70-4614-9d39-b1969e2021ac" providerId="ADAL" clId="{FD801BB5-6C41-42BD-B611-F0B6F730DF36}" dt="2023-12-22T17:28:45.117" v="295" actId="164"/>
          <ac:cxnSpMkLst>
            <pc:docMk/>
            <pc:sldMk cId="3944702896" sldId="2147477686"/>
            <ac:cxnSpMk id="21" creationId="{F6FF3890-0011-43AF-9EDA-7DAEEDEFA643}"/>
          </ac:cxnSpMkLst>
        </pc:cxnChg>
        <pc:cxnChg chg="mod">
          <ac:chgData name="Bahrami Jovein, Layla (she/her)" userId="564c9fd6-df70-4614-9d39-b1969e2021ac" providerId="ADAL" clId="{FD801BB5-6C41-42BD-B611-F0B6F730DF36}" dt="2023-12-22T17:28:45.117" v="295" actId="164"/>
          <ac:cxnSpMkLst>
            <pc:docMk/>
            <pc:sldMk cId="3944702896" sldId="2147477686"/>
            <ac:cxnSpMk id="22" creationId="{C1EA879D-E200-428E-AC8C-9CBBE6D3D17C}"/>
          </ac:cxnSpMkLst>
        </pc:cxnChg>
      </pc:sldChg>
      <pc:sldChg chg="addSp delSp modSp add mod ord">
        <pc:chgData name="Bahrami Jovein, Layla (she/her)" userId="564c9fd6-df70-4614-9d39-b1969e2021ac" providerId="ADAL" clId="{FD801BB5-6C41-42BD-B611-F0B6F730DF36}" dt="2023-12-22T17:46:38.045" v="641" actId="14100"/>
        <pc:sldMkLst>
          <pc:docMk/>
          <pc:sldMk cId="2647266761" sldId="2147477687"/>
        </pc:sldMkLst>
        <pc:spChg chg="mod">
          <ac:chgData name="Bahrami Jovein, Layla (she/her)" userId="564c9fd6-df70-4614-9d39-b1969e2021ac" providerId="ADAL" clId="{FD801BB5-6C41-42BD-B611-F0B6F730DF36}" dt="2023-12-22T17:43:07.666" v="608"/>
          <ac:spMkLst>
            <pc:docMk/>
            <pc:sldMk cId="2647266761" sldId="2147477687"/>
            <ac:spMk id="2" creationId="{74536499-0528-498A-ABDE-B0F4B7B1A18B}"/>
          </ac:spMkLst>
        </pc:spChg>
        <pc:spChg chg="del">
          <ac:chgData name="Bahrami Jovein, Layla (she/her)" userId="564c9fd6-df70-4614-9d39-b1969e2021ac" providerId="ADAL" clId="{FD801BB5-6C41-42BD-B611-F0B6F730DF36}" dt="2023-12-22T17:39:03.949" v="572" actId="478"/>
          <ac:spMkLst>
            <pc:docMk/>
            <pc:sldMk cId="2647266761" sldId="2147477687"/>
            <ac:spMk id="3" creationId="{367C6387-5720-CACC-E6A0-F72B83B4C577}"/>
          </ac:spMkLst>
        </pc:spChg>
        <pc:spChg chg="add del mod">
          <ac:chgData name="Bahrami Jovein, Layla (she/her)" userId="564c9fd6-df70-4614-9d39-b1969e2021ac" providerId="ADAL" clId="{FD801BB5-6C41-42BD-B611-F0B6F730DF36}" dt="2023-12-22T17:41:55.388" v="599"/>
          <ac:spMkLst>
            <pc:docMk/>
            <pc:sldMk cId="2647266761" sldId="2147477687"/>
            <ac:spMk id="7" creationId="{188EED42-503A-FBE7-0B38-50864BD31CFF}"/>
          </ac:spMkLst>
        </pc:spChg>
        <pc:spChg chg="mod">
          <ac:chgData name="Bahrami Jovein, Layla (she/her)" userId="564c9fd6-df70-4614-9d39-b1969e2021ac" providerId="ADAL" clId="{FD801BB5-6C41-42BD-B611-F0B6F730DF36}" dt="2023-12-22T17:41:33.862" v="591"/>
          <ac:spMkLst>
            <pc:docMk/>
            <pc:sldMk cId="2647266761" sldId="2147477687"/>
            <ac:spMk id="13" creationId="{8BC6A2F5-9D4B-455E-ABFD-CD664610CB9F}"/>
          </ac:spMkLst>
        </pc:spChg>
        <pc:spChg chg="del">
          <ac:chgData name="Bahrami Jovein, Layla (she/her)" userId="564c9fd6-df70-4614-9d39-b1969e2021ac" providerId="ADAL" clId="{FD801BB5-6C41-42BD-B611-F0B6F730DF36}" dt="2023-12-22T17:41:57.063" v="600" actId="478"/>
          <ac:spMkLst>
            <pc:docMk/>
            <pc:sldMk cId="2647266761" sldId="2147477687"/>
            <ac:spMk id="14" creationId="{551FBBF0-826F-469D-94C9-798EEA4859E9}"/>
          </ac:spMkLst>
        </pc:spChg>
        <pc:spChg chg="mod">
          <ac:chgData name="Bahrami Jovein, Layla (she/her)" userId="564c9fd6-df70-4614-9d39-b1969e2021ac" providerId="ADAL" clId="{FD801BB5-6C41-42BD-B611-F0B6F730DF36}" dt="2023-12-22T17:44:32.683" v="626" actId="1076"/>
          <ac:spMkLst>
            <pc:docMk/>
            <pc:sldMk cId="2647266761" sldId="2147477687"/>
            <ac:spMk id="15" creationId="{F6C25EA1-E7FA-4A9F-AB06-19DDEF81C366}"/>
          </ac:spMkLst>
        </pc:spChg>
        <pc:spChg chg="mod">
          <ac:chgData name="Bahrami Jovein, Layla (she/her)" userId="564c9fd6-df70-4614-9d39-b1969e2021ac" providerId="ADAL" clId="{FD801BB5-6C41-42BD-B611-F0B6F730DF36}" dt="2023-12-22T17:46:26.412" v="639" actId="1076"/>
          <ac:spMkLst>
            <pc:docMk/>
            <pc:sldMk cId="2647266761" sldId="2147477687"/>
            <ac:spMk id="17" creationId="{F3EC8CA1-111B-491B-96DD-E122AB0AA912}"/>
          </ac:spMkLst>
        </pc:spChg>
        <pc:spChg chg="mod">
          <ac:chgData name="Bahrami Jovein, Layla (she/her)" userId="564c9fd6-df70-4614-9d39-b1969e2021ac" providerId="ADAL" clId="{FD801BB5-6C41-42BD-B611-F0B6F730DF36}" dt="2023-12-22T17:46:01.906" v="636" actId="1076"/>
          <ac:spMkLst>
            <pc:docMk/>
            <pc:sldMk cId="2647266761" sldId="2147477687"/>
            <ac:spMk id="19" creationId="{4C5320E8-80CD-4626-9E6F-54355E0822CA}"/>
          </ac:spMkLst>
        </pc:spChg>
        <pc:spChg chg="mod">
          <ac:chgData name="Bahrami Jovein, Layla (she/her)" userId="564c9fd6-df70-4614-9d39-b1969e2021ac" providerId="ADAL" clId="{FD801BB5-6C41-42BD-B611-F0B6F730DF36}" dt="2023-12-22T17:45:58.682" v="635" actId="1076"/>
          <ac:spMkLst>
            <pc:docMk/>
            <pc:sldMk cId="2647266761" sldId="2147477687"/>
            <ac:spMk id="24" creationId="{919FFE5D-A421-4510-BA61-342F21A32097}"/>
          </ac:spMkLst>
        </pc:spChg>
        <pc:grpChg chg="mod">
          <ac:chgData name="Bahrami Jovein, Layla (she/her)" userId="564c9fd6-df70-4614-9d39-b1969e2021ac" providerId="ADAL" clId="{FD801BB5-6C41-42BD-B611-F0B6F730DF36}" dt="2023-12-22T17:46:38.045" v="641" actId="14100"/>
          <ac:grpSpMkLst>
            <pc:docMk/>
            <pc:sldMk cId="2647266761" sldId="2147477687"/>
            <ac:grpSpMk id="6" creationId="{7FF338A6-C07A-8B6E-79AF-B11845D921FB}"/>
          </ac:grpSpMkLst>
        </pc:grpChg>
        <pc:picChg chg="add mod">
          <ac:chgData name="Bahrami Jovein, Layla (she/her)" userId="564c9fd6-df70-4614-9d39-b1969e2021ac" providerId="ADAL" clId="{FD801BB5-6C41-42BD-B611-F0B6F730DF36}" dt="2023-12-22T17:46:04.313" v="637" actId="1076"/>
          <ac:picMkLst>
            <pc:docMk/>
            <pc:sldMk cId="2647266761" sldId="2147477687"/>
            <ac:picMk id="4" creationId="{4871A49D-6B6D-F025-2BC8-51E89ED71C2A}"/>
          </ac:picMkLst>
        </pc:picChg>
        <pc:picChg chg="del">
          <ac:chgData name="Bahrami Jovein, Layla (she/her)" userId="564c9fd6-df70-4614-9d39-b1969e2021ac" providerId="ADAL" clId="{FD801BB5-6C41-42BD-B611-F0B6F730DF36}" dt="2023-12-22T17:39:44.471" v="585" actId="478"/>
          <ac:picMkLst>
            <pc:docMk/>
            <pc:sldMk cId="2647266761" sldId="2147477687"/>
            <ac:picMk id="8" creationId="{9F7970DB-4773-E756-518C-4A220764B4E4}"/>
          </ac:picMkLst>
        </pc:picChg>
        <pc:picChg chg="del">
          <ac:chgData name="Bahrami Jovein, Layla (she/her)" userId="564c9fd6-df70-4614-9d39-b1969e2021ac" providerId="ADAL" clId="{FD801BB5-6C41-42BD-B611-F0B6F730DF36}" dt="2023-12-22T17:39:04.618" v="573" actId="478"/>
          <ac:picMkLst>
            <pc:docMk/>
            <pc:sldMk cId="2647266761" sldId="2147477687"/>
            <ac:picMk id="9" creationId="{12E25410-9657-22F0-330B-48287E58D7D1}"/>
          </ac:picMkLst>
        </pc:picChg>
        <pc:cxnChg chg="mod">
          <ac:chgData name="Bahrami Jovein, Layla (she/her)" userId="564c9fd6-df70-4614-9d39-b1969e2021ac" providerId="ADAL" clId="{FD801BB5-6C41-42BD-B611-F0B6F730DF36}" dt="2023-12-22T17:41:51.881" v="596" actId="1076"/>
          <ac:cxnSpMkLst>
            <pc:docMk/>
            <pc:sldMk cId="2647266761" sldId="2147477687"/>
            <ac:cxnSpMk id="21" creationId="{F6FF3890-0011-43AF-9EDA-7DAEEDEFA643}"/>
          </ac:cxnSpMkLst>
        </pc:cxnChg>
        <pc:cxnChg chg="del">
          <ac:chgData name="Bahrami Jovein, Layla (she/her)" userId="564c9fd6-df70-4614-9d39-b1969e2021ac" providerId="ADAL" clId="{FD801BB5-6C41-42BD-B611-F0B6F730DF36}" dt="2023-12-22T17:41:55.387" v="597" actId="478"/>
          <ac:cxnSpMkLst>
            <pc:docMk/>
            <pc:sldMk cId="2647266761" sldId="2147477687"/>
            <ac:cxnSpMk id="22" creationId="{C1EA879D-E200-428E-AC8C-9CBBE6D3D17C}"/>
          </ac:cxnSpMkLst>
        </pc:cxnChg>
      </pc:sldChg>
      <pc:sldChg chg="addSp delSp modSp add del mod">
        <pc:chgData name="Bahrami Jovein, Layla (she/her)" userId="564c9fd6-df70-4614-9d39-b1969e2021ac" providerId="ADAL" clId="{FD801BB5-6C41-42BD-B611-F0B6F730DF36}" dt="2023-12-22T18:02:42.045" v="818" actId="47"/>
        <pc:sldMkLst>
          <pc:docMk/>
          <pc:sldMk cId="395744120" sldId="2147477688"/>
        </pc:sldMkLst>
        <pc:spChg chg="mod">
          <ac:chgData name="Bahrami Jovein, Layla (she/her)" userId="564c9fd6-df70-4614-9d39-b1969e2021ac" providerId="ADAL" clId="{FD801BB5-6C41-42BD-B611-F0B6F730DF36}" dt="2023-12-22T18:01:20.351" v="799" actId="20577"/>
          <ac:spMkLst>
            <pc:docMk/>
            <pc:sldMk cId="395744120" sldId="2147477688"/>
            <ac:spMk id="9" creationId="{A10E0D48-BE8C-45D6-9CA6-A53F59075525}"/>
          </ac:spMkLst>
        </pc:spChg>
        <pc:picChg chg="del">
          <ac:chgData name="Bahrami Jovein, Layla (she/her)" userId="564c9fd6-df70-4614-9d39-b1969e2021ac" providerId="ADAL" clId="{FD801BB5-6C41-42BD-B611-F0B6F730DF36}" dt="2023-12-22T18:00:47.868" v="789" actId="478"/>
          <ac:picMkLst>
            <pc:docMk/>
            <pc:sldMk cId="395744120" sldId="2147477688"/>
            <ac:picMk id="3" creationId="{73A3A690-B9AD-2142-ACAF-E02E96F43253}"/>
          </ac:picMkLst>
        </pc:picChg>
        <pc:picChg chg="del">
          <ac:chgData name="Bahrami Jovein, Layla (she/her)" userId="564c9fd6-df70-4614-9d39-b1969e2021ac" providerId="ADAL" clId="{FD801BB5-6C41-42BD-B611-F0B6F730DF36}" dt="2023-12-22T18:01:09.953" v="795" actId="478"/>
          <ac:picMkLst>
            <pc:docMk/>
            <pc:sldMk cId="395744120" sldId="2147477688"/>
            <ac:picMk id="4" creationId="{DC09D156-6DBB-E9AF-88A4-CF886440B9C2}"/>
          </ac:picMkLst>
        </pc:picChg>
        <pc:picChg chg="add mod">
          <ac:chgData name="Bahrami Jovein, Layla (she/her)" userId="564c9fd6-df70-4614-9d39-b1969e2021ac" providerId="ADAL" clId="{FD801BB5-6C41-42BD-B611-F0B6F730DF36}" dt="2023-12-22T18:01:08.538" v="794" actId="14100"/>
          <ac:picMkLst>
            <pc:docMk/>
            <pc:sldMk cId="395744120" sldId="2147477688"/>
            <ac:picMk id="5" creationId="{E7771F37-E2BA-FBDC-DC80-534045B00452}"/>
          </ac:picMkLst>
        </pc:picChg>
        <pc:picChg chg="add mod">
          <ac:chgData name="Bahrami Jovein, Layla (she/her)" userId="564c9fd6-df70-4614-9d39-b1969e2021ac" providerId="ADAL" clId="{FD801BB5-6C41-42BD-B611-F0B6F730DF36}" dt="2023-12-22T18:01:04.172" v="793" actId="1076"/>
          <ac:picMkLst>
            <pc:docMk/>
            <pc:sldMk cId="395744120" sldId="2147477688"/>
            <ac:picMk id="6" creationId="{DE8E9F09-C57A-A933-EFAD-3A6D1EB5F94D}"/>
          </ac:picMkLst>
        </pc:picChg>
        <pc:picChg chg="add mod">
          <ac:chgData name="Bahrami Jovein, Layla (she/her)" userId="564c9fd6-df70-4614-9d39-b1969e2021ac" providerId="ADAL" clId="{FD801BB5-6C41-42BD-B611-F0B6F730DF36}" dt="2023-12-22T18:01:18.580" v="797" actId="1076"/>
          <ac:picMkLst>
            <pc:docMk/>
            <pc:sldMk cId="395744120" sldId="2147477688"/>
            <ac:picMk id="7" creationId="{7294757C-3B7E-0EA2-906D-B8E12186BE6C}"/>
          </ac:picMkLst>
        </pc:picChg>
      </pc:sldChg>
      <pc:sldChg chg="addSp delSp modSp add mod">
        <pc:chgData name="Bahrami Jovein, Layla (she/her)" userId="564c9fd6-df70-4614-9d39-b1969e2021ac" providerId="ADAL" clId="{FD801BB5-6C41-42BD-B611-F0B6F730DF36}" dt="2023-12-22T18:11:40.034" v="889" actId="1076"/>
        <pc:sldMkLst>
          <pc:docMk/>
          <pc:sldMk cId="2237394439" sldId="2147477689"/>
        </pc:sldMkLst>
        <pc:spChg chg="mod">
          <ac:chgData name="Bahrami Jovein, Layla (she/her)" userId="564c9fd6-df70-4614-9d39-b1969e2021ac" providerId="ADAL" clId="{FD801BB5-6C41-42BD-B611-F0B6F730DF36}" dt="2023-12-22T18:02:45.194" v="819"/>
          <ac:spMkLst>
            <pc:docMk/>
            <pc:sldMk cId="2237394439" sldId="2147477689"/>
            <ac:spMk id="2" creationId="{A7DEB311-D221-4916-A540-0CD33231180C}"/>
          </ac:spMkLst>
        </pc:spChg>
        <pc:spChg chg="mod">
          <ac:chgData name="Bahrami Jovein, Layla (she/her)" userId="564c9fd6-df70-4614-9d39-b1969e2021ac" providerId="ADAL" clId="{FD801BB5-6C41-42BD-B611-F0B6F730DF36}" dt="2023-12-22T18:07:02.038" v="848" actId="1076"/>
          <ac:spMkLst>
            <pc:docMk/>
            <pc:sldMk cId="2237394439" sldId="2147477689"/>
            <ac:spMk id="9" creationId="{A10E0D48-BE8C-45D6-9CA6-A53F59075525}"/>
          </ac:spMkLst>
        </pc:spChg>
        <pc:graphicFrameChg chg="add del mod modGraphic">
          <ac:chgData name="Bahrami Jovein, Layla (she/her)" userId="564c9fd6-df70-4614-9d39-b1969e2021ac" providerId="ADAL" clId="{FD801BB5-6C41-42BD-B611-F0B6F730DF36}" dt="2023-12-22T18:05:43.874" v="834" actId="478"/>
          <ac:graphicFrameMkLst>
            <pc:docMk/>
            <pc:sldMk cId="2237394439" sldId="2147477689"/>
            <ac:graphicFrameMk id="8" creationId="{3FB7F404-579B-F8A0-B1A4-5AB080610E48}"/>
          </ac:graphicFrameMkLst>
        </pc:graphicFrameChg>
        <pc:picChg chg="del">
          <ac:chgData name="Bahrami Jovein, Layla (she/her)" userId="564c9fd6-df70-4614-9d39-b1969e2021ac" providerId="ADAL" clId="{FD801BB5-6C41-42BD-B611-F0B6F730DF36}" dt="2023-12-22T18:02:10.978" v="809" actId="478"/>
          <ac:picMkLst>
            <pc:docMk/>
            <pc:sldMk cId="2237394439" sldId="2147477689"/>
            <ac:picMk id="3" creationId="{73A3A690-B9AD-2142-ACAF-E02E96F43253}"/>
          </ac:picMkLst>
        </pc:picChg>
        <pc:picChg chg="del">
          <ac:chgData name="Bahrami Jovein, Layla (she/her)" userId="564c9fd6-df70-4614-9d39-b1969e2021ac" providerId="ADAL" clId="{FD801BB5-6C41-42BD-B611-F0B6F730DF36}" dt="2023-12-22T18:02:07.258" v="807" actId="478"/>
          <ac:picMkLst>
            <pc:docMk/>
            <pc:sldMk cId="2237394439" sldId="2147477689"/>
            <ac:picMk id="4" creationId="{DC09D156-6DBB-E9AF-88A4-CF886440B9C2}"/>
          </ac:picMkLst>
        </pc:picChg>
        <pc:picChg chg="add mod">
          <ac:chgData name="Bahrami Jovein, Layla (she/her)" userId="564c9fd6-df70-4614-9d39-b1969e2021ac" providerId="ADAL" clId="{FD801BB5-6C41-42BD-B611-F0B6F730DF36}" dt="2023-12-22T18:03:03.290" v="823" actId="1076"/>
          <ac:picMkLst>
            <pc:docMk/>
            <pc:sldMk cId="2237394439" sldId="2147477689"/>
            <ac:picMk id="5" creationId="{F58EF5CD-168E-16F4-EA65-B65FD55D704B}"/>
          </ac:picMkLst>
        </pc:picChg>
        <pc:picChg chg="add mod">
          <ac:chgData name="Bahrami Jovein, Layla (she/her)" userId="564c9fd6-df70-4614-9d39-b1969e2021ac" providerId="ADAL" clId="{FD801BB5-6C41-42BD-B611-F0B6F730DF36}" dt="2023-12-22T18:11:40.034" v="889" actId="1076"/>
          <ac:picMkLst>
            <pc:docMk/>
            <pc:sldMk cId="2237394439" sldId="2147477689"/>
            <ac:picMk id="6" creationId="{817C8A48-2C5B-EA8D-53A6-0B42C31F70DB}"/>
          </ac:picMkLst>
        </pc:picChg>
        <pc:picChg chg="add del mod">
          <ac:chgData name="Bahrami Jovein, Layla (she/her)" userId="564c9fd6-df70-4614-9d39-b1969e2021ac" providerId="ADAL" clId="{FD801BB5-6C41-42BD-B611-F0B6F730DF36}" dt="2023-12-22T18:09:39.557" v="856" actId="478"/>
          <ac:picMkLst>
            <pc:docMk/>
            <pc:sldMk cId="2237394439" sldId="2147477689"/>
            <ac:picMk id="7" creationId="{F8444875-EA82-2AD5-07BD-75C59A177FE3}"/>
          </ac:picMkLst>
        </pc:picChg>
        <pc:picChg chg="add del mod">
          <ac:chgData name="Bahrami Jovein, Layla (she/her)" userId="564c9fd6-df70-4614-9d39-b1969e2021ac" providerId="ADAL" clId="{FD801BB5-6C41-42BD-B611-F0B6F730DF36}" dt="2023-12-22T18:09:56.415" v="861" actId="478"/>
          <ac:picMkLst>
            <pc:docMk/>
            <pc:sldMk cId="2237394439" sldId="2147477689"/>
            <ac:picMk id="10" creationId="{2021B97B-868E-6261-3AB8-EE7870263C22}"/>
          </ac:picMkLst>
        </pc:picChg>
        <pc:picChg chg="add mod">
          <ac:chgData name="Bahrami Jovein, Layla (she/her)" userId="564c9fd6-df70-4614-9d39-b1969e2021ac" providerId="ADAL" clId="{FD801BB5-6C41-42BD-B611-F0B6F730DF36}" dt="2023-12-22T18:11:31.602" v="886" actId="1076"/>
          <ac:picMkLst>
            <pc:docMk/>
            <pc:sldMk cId="2237394439" sldId="2147477689"/>
            <ac:picMk id="11" creationId="{0FFBB77B-3BDB-B600-C336-4F0929D9C9A7}"/>
          </ac:picMkLst>
        </pc:picChg>
        <pc:picChg chg="add del mod">
          <ac:chgData name="Bahrami Jovein, Layla (she/her)" userId="564c9fd6-df70-4614-9d39-b1969e2021ac" providerId="ADAL" clId="{FD801BB5-6C41-42BD-B611-F0B6F730DF36}" dt="2023-12-22T18:11:03.361" v="881" actId="478"/>
          <ac:picMkLst>
            <pc:docMk/>
            <pc:sldMk cId="2237394439" sldId="2147477689"/>
            <ac:picMk id="12" creationId="{B6F98993-5EC9-82BA-ED1B-0F37CBFEF278}"/>
          </ac:picMkLst>
        </pc:picChg>
        <pc:cxnChg chg="add mod">
          <ac:chgData name="Bahrami Jovein, Layla (she/her)" userId="564c9fd6-df70-4614-9d39-b1969e2021ac" providerId="ADAL" clId="{FD801BB5-6C41-42BD-B611-F0B6F730DF36}" dt="2023-12-22T18:11:37.618" v="888" actId="1076"/>
          <ac:cxnSpMkLst>
            <pc:docMk/>
            <pc:sldMk cId="2237394439" sldId="2147477689"/>
            <ac:cxnSpMk id="14" creationId="{8DAFE3B3-B77E-3F31-47FC-9E9D2EE0DE24}"/>
          </ac:cxnSpMkLst>
        </pc:cxnChg>
      </pc:sldChg>
      <pc:sldChg chg="addSp delSp modSp add mod ord">
        <pc:chgData name="Bahrami Jovein, Layla (she/her)" userId="564c9fd6-df70-4614-9d39-b1969e2021ac" providerId="ADAL" clId="{FD801BB5-6C41-42BD-B611-F0B6F730DF36}" dt="2023-12-22T18:26:08.085" v="1068" actId="1076"/>
        <pc:sldMkLst>
          <pc:docMk/>
          <pc:sldMk cId="4263810485" sldId="2147477690"/>
        </pc:sldMkLst>
        <pc:spChg chg="mod">
          <ac:chgData name="Bahrami Jovein, Layla (she/her)" userId="564c9fd6-df70-4614-9d39-b1969e2021ac" providerId="ADAL" clId="{FD801BB5-6C41-42BD-B611-F0B6F730DF36}" dt="2023-12-22T18:23:48.944" v="1049"/>
          <ac:spMkLst>
            <pc:docMk/>
            <pc:sldMk cId="4263810485" sldId="2147477690"/>
            <ac:spMk id="2" creationId="{A7DEB311-D221-4916-A540-0CD33231180C}"/>
          </ac:spMkLst>
        </pc:spChg>
        <pc:spChg chg="mod">
          <ac:chgData name="Bahrami Jovein, Layla (she/her)" userId="564c9fd6-df70-4614-9d39-b1969e2021ac" providerId="ADAL" clId="{FD801BB5-6C41-42BD-B611-F0B6F730DF36}" dt="2023-12-22T18:24:57.809" v="1064" actId="20577"/>
          <ac:spMkLst>
            <pc:docMk/>
            <pc:sldMk cId="4263810485" sldId="2147477690"/>
            <ac:spMk id="9" creationId="{A10E0D48-BE8C-45D6-9CA6-A53F59075525}"/>
          </ac:spMkLst>
        </pc:spChg>
        <pc:grpChg chg="add mod">
          <ac:chgData name="Bahrami Jovein, Layla (she/her)" userId="564c9fd6-df70-4614-9d39-b1969e2021ac" providerId="ADAL" clId="{FD801BB5-6C41-42BD-B611-F0B6F730DF36}" dt="2023-12-22T18:25:00.780" v="1065" actId="1076"/>
          <ac:grpSpMkLst>
            <pc:docMk/>
            <pc:sldMk cId="4263810485" sldId="2147477690"/>
            <ac:grpSpMk id="4" creationId="{756B3CEF-293C-6889-7544-290B722326E1}"/>
          </ac:grpSpMkLst>
        </pc:grpChg>
        <pc:picChg chg="add mod">
          <ac:chgData name="Bahrami Jovein, Layla (she/her)" userId="564c9fd6-df70-4614-9d39-b1969e2021ac" providerId="ADAL" clId="{FD801BB5-6C41-42BD-B611-F0B6F730DF36}" dt="2023-12-22T18:24:13.745" v="1060" actId="14100"/>
          <ac:picMkLst>
            <pc:docMk/>
            <pc:sldMk cId="4263810485" sldId="2147477690"/>
            <ac:picMk id="3" creationId="{BF75FF18-3BF9-676F-90D6-4BA0992B9312}"/>
          </ac:picMkLst>
        </pc:picChg>
        <pc:picChg chg="del">
          <ac:chgData name="Bahrami Jovein, Layla (she/her)" userId="564c9fd6-df70-4614-9d39-b1969e2021ac" providerId="ADAL" clId="{FD801BB5-6C41-42BD-B611-F0B6F730DF36}" dt="2023-12-22T18:23:51.353" v="1050" actId="478"/>
          <ac:picMkLst>
            <pc:docMk/>
            <pc:sldMk cId="4263810485" sldId="2147477690"/>
            <ac:picMk id="5" creationId="{F58EF5CD-168E-16F4-EA65-B65FD55D704B}"/>
          </ac:picMkLst>
        </pc:picChg>
        <pc:picChg chg="del">
          <ac:chgData name="Bahrami Jovein, Layla (she/her)" userId="564c9fd6-df70-4614-9d39-b1969e2021ac" providerId="ADAL" clId="{FD801BB5-6C41-42BD-B611-F0B6F730DF36}" dt="2023-12-22T18:23:55.056" v="1052" actId="478"/>
          <ac:picMkLst>
            <pc:docMk/>
            <pc:sldMk cId="4263810485" sldId="2147477690"/>
            <ac:picMk id="6" creationId="{817C8A48-2C5B-EA8D-53A6-0B42C31F70DB}"/>
          </ac:picMkLst>
        </pc:picChg>
        <pc:picChg chg="del mod">
          <ac:chgData name="Bahrami Jovein, Layla (she/her)" userId="564c9fd6-df70-4614-9d39-b1969e2021ac" providerId="ADAL" clId="{FD801BB5-6C41-42BD-B611-F0B6F730DF36}" dt="2023-12-22T18:25:02.815" v="1066" actId="478"/>
          <ac:picMkLst>
            <pc:docMk/>
            <pc:sldMk cId="4263810485" sldId="2147477690"/>
            <ac:picMk id="7" creationId="{BA0F3218-4B94-2092-E559-AF961D68F6B6}"/>
          </ac:picMkLst>
        </pc:picChg>
        <pc:picChg chg="del">
          <ac:chgData name="Bahrami Jovein, Layla (she/her)" userId="564c9fd6-df70-4614-9d39-b1969e2021ac" providerId="ADAL" clId="{FD801BB5-6C41-42BD-B611-F0B6F730DF36}" dt="2023-12-22T18:23:55.537" v="1053" actId="478"/>
          <ac:picMkLst>
            <pc:docMk/>
            <pc:sldMk cId="4263810485" sldId="2147477690"/>
            <ac:picMk id="11" creationId="{0FFBB77B-3BDB-B600-C336-4F0929D9C9A7}"/>
          </ac:picMkLst>
        </pc:picChg>
        <pc:picChg chg="add mod">
          <ac:chgData name="Bahrami Jovein, Layla (she/her)" userId="564c9fd6-df70-4614-9d39-b1969e2021ac" providerId="ADAL" clId="{FD801BB5-6C41-42BD-B611-F0B6F730DF36}" dt="2023-12-22T18:26:08.085" v="1068" actId="1076"/>
          <ac:picMkLst>
            <pc:docMk/>
            <pc:sldMk cId="4263810485" sldId="2147477690"/>
            <ac:picMk id="12" creationId="{43DB41FF-27D5-97CC-79D9-3775679756F6}"/>
          </ac:picMkLst>
        </pc:picChg>
        <pc:cxnChg chg="mod">
          <ac:chgData name="Bahrami Jovein, Layla (she/her)" userId="564c9fd6-df70-4614-9d39-b1969e2021ac" providerId="ADAL" clId="{FD801BB5-6C41-42BD-B611-F0B6F730DF36}" dt="2023-12-22T18:24:48.142" v="1061"/>
          <ac:cxnSpMkLst>
            <pc:docMk/>
            <pc:sldMk cId="4263810485" sldId="2147477690"/>
            <ac:cxnSpMk id="8" creationId="{A26036CB-2493-C33C-1603-E65E2608E295}"/>
          </ac:cxnSpMkLst>
        </pc:cxnChg>
        <pc:cxnChg chg="mod">
          <ac:chgData name="Bahrami Jovein, Layla (she/her)" userId="564c9fd6-df70-4614-9d39-b1969e2021ac" providerId="ADAL" clId="{FD801BB5-6C41-42BD-B611-F0B6F730DF36}" dt="2023-12-22T18:24:48.142" v="1061"/>
          <ac:cxnSpMkLst>
            <pc:docMk/>
            <pc:sldMk cId="4263810485" sldId="2147477690"/>
            <ac:cxnSpMk id="10" creationId="{6BFE7F4C-A0FA-FC48-8E58-0E055AEF099C}"/>
          </ac:cxnSpMkLst>
        </pc:cxnChg>
        <pc:cxnChg chg="del">
          <ac:chgData name="Bahrami Jovein, Layla (she/her)" userId="564c9fd6-df70-4614-9d39-b1969e2021ac" providerId="ADAL" clId="{FD801BB5-6C41-42BD-B611-F0B6F730DF36}" dt="2023-12-22T18:23:56.300" v="1054" actId="478"/>
          <ac:cxnSpMkLst>
            <pc:docMk/>
            <pc:sldMk cId="4263810485" sldId="2147477690"/>
            <ac:cxnSpMk id="14" creationId="{8DAFE3B3-B77E-3F31-47FC-9E9D2EE0DE24}"/>
          </ac:cxnSpMkLst>
        </pc:cxnChg>
      </pc:sldChg>
      <pc:sldChg chg="modSp add mod ord">
        <pc:chgData name="Bahrami Jovein, Layla (she/her)" userId="564c9fd6-df70-4614-9d39-b1969e2021ac" providerId="ADAL" clId="{FD801BB5-6C41-42BD-B611-F0B6F730DF36}" dt="2023-12-22T18:27:14.953" v="1089" actId="20577"/>
        <pc:sldMkLst>
          <pc:docMk/>
          <pc:sldMk cId="1956336252" sldId="2147477691"/>
        </pc:sldMkLst>
        <pc:spChg chg="mod">
          <ac:chgData name="Bahrami Jovein, Layla (she/her)" userId="564c9fd6-df70-4614-9d39-b1969e2021ac" providerId="ADAL" clId="{FD801BB5-6C41-42BD-B611-F0B6F730DF36}" dt="2023-12-22T18:26:36.975" v="1073"/>
          <ac:spMkLst>
            <pc:docMk/>
            <pc:sldMk cId="1956336252" sldId="2147477691"/>
            <ac:spMk id="2" creationId="{403018D4-1980-FABD-06EA-F906DB696CAF}"/>
          </ac:spMkLst>
        </pc:spChg>
        <pc:spChg chg="mod">
          <ac:chgData name="Bahrami Jovein, Layla (she/her)" userId="564c9fd6-df70-4614-9d39-b1969e2021ac" providerId="ADAL" clId="{FD801BB5-6C41-42BD-B611-F0B6F730DF36}" dt="2023-12-22T18:27:14.953" v="1089" actId="20577"/>
          <ac:spMkLst>
            <pc:docMk/>
            <pc:sldMk cId="1956336252" sldId="2147477691"/>
            <ac:spMk id="3" creationId="{F29F6057-CBFA-5A78-DBE3-0166C7C3A5FF}"/>
          </ac:spMkLst>
        </pc:spChg>
      </pc:sldChg>
      <pc:sldChg chg="modSp new mod modShow">
        <pc:chgData name="Bahrami Jovein, Layla (she/her)" userId="564c9fd6-df70-4614-9d39-b1969e2021ac" providerId="ADAL" clId="{FD801BB5-6C41-42BD-B611-F0B6F730DF36}" dt="2024-01-09T15:57:48.870" v="2256" actId="729"/>
        <pc:sldMkLst>
          <pc:docMk/>
          <pc:sldMk cId="2051692527" sldId="2147477692"/>
        </pc:sldMkLst>
        <pc:spChg chg="mod">
          <ac:chgData name="Bahrami Jovein, Layla (she/her)" userId="564c9fd6-df70-4614-9d39-b1969e2021ac" providerId="ADAL" clId="{FD801BB5-6C41-42BD-B611-F0B6F730DF36}" dt="2024-01-03T10:44:07.731" v="1379" actId="20577"/>
          <ac:spMkLst>
            <pc:docMk/>
            <pc:sldMk cId="2051692527" sldId="2147477692"/>
            <ac:spMk id="2" creationId="{788FE71D-D602-0326-5F90-3F60CBF4F7BC}"/>
          </ac:spMkLst>
        </pc:spChg>
      </pc:sldChg>
      <pc:sldChg chg="modSp new mod modShow">
        <pc:chgData name="Bahrami Jovein, Layla (she/her)" userId="564c9fd6-df70-4614-9d39-b1969e2021ac" providerId="ADAL" clId="{FD801BB5-6C41-42BD-B611-F0B6F730DF36}" dt="2024-01-09T15:57:39.972" v="2254" actId="729"/>
        <pc:sldMkLst>
          <pc:docMk/>
          <pc:sldMk cId="2588001900" sldId="2147477693"/>
        </pc:sldMkLst>
        <pc:spChg chg="mod">
          <ac:chgData name="Bahrami Jovein, Layla (she/her)" userId="564c9fd6-df70-4614-9d39-b1969e2021ac" providerId="ADAL" clId="{FD801BB5-6C41-42BD-B611-F0B6F730DF36}" dt="2024-01-03T15:22:29.423" v="2218" actId="21"/>
          <ac:spMkLst>
            <pc:docMk/>
            <pc:sldMk cId="2588001900" sldId="2147477693"/>
            <ac:spMk id="3" creationId="{5AAC5636-F814-1CE2-1EB3-591BF1D924FB}"/>
          </ac:spMkLst>
        </pc:spChg>
      </pc:sldChg>
      <pc:sldChg chg="modSp new mod ord modShow">
        <pc:chgData name="Bahrami Jovein, Layla (she/her)" userId="564c9fd6-df70-4614-9d39-b1969e2021ac" providerId="ADAL" clId="{FD801BB5-6C41-42BD-B611-F0B6F730DF36}" dt="2024-01-09T15:57:43.794" v="2255" actId="729"/>
        <pc:sldMkLst>
          <pc:docMk/>
          <pc:sldMk cId="1331294122" sldId="2147477694"/>
        </pc:sldMkLst>
        <pc:spChg chg="mod">
          <ac:chgData name="Bahrami Jovein, Layla (she/her)" userId="564c9fd6-df70-4614-9d39-b1969e2021ac" providerId="ADAL" clId="{FD801BB5-6C41-42BD-B611-F0B6F730DF36}" dt="2024-01-03T10:43:12.914" v="1350" actId="20577"/>
          <ac:spMkLst>
            <pc:docMk/>
            <pc:sldMk cId="1331294122" sldId="2147477694"/>
            <ac:spMk id="3" creationId="{1A5C6DAE-8C0D-2E02-35A9-D171DBFE1585}"/>
          </ac:spMkLst>
        </pc:spChg>
      </pc:sldChg>
      <pc:sldChg chg="modSp new mod ord modShow">
        <pc:chgData name="Bahrami Jovein, Layla (she/her)" userId="564c9fd6-df70-4614-9d39-b1969e2021ac" providerId="ADAL" clId="{FD801BB5-6C41-42BD-B611-F0B6F730DF36}" dt="2024-01-09T15:57:57.946" v="2259" actId="729"/>
        <pc:sldMkLst>
          <pc:docMk/>
          <pc:sldMk cId="2313674478" sldId="2147477695"/>
        </pc:sldMkLst>
        <pc:spChg chg="mod">
          <ac:chgData name="Bahrami Jovein, Layla (she/her)" userId="564c9fd6-df70-4614-9d39-b1969e2021ac" providerId="ADAL" clId="{FD801BB5-6C41-42BD-B611-F0B6F730DF36}" dt="2024-01-03T10:43:32.880" v="1354"/>
          <ac:spMkLst>
            <pc:docMk/>
            <pc:sldMk cId="2313674478" sldId="2147477695"/>
            <ac:spMk id="3" creationId="{2A0C482B-B274-EF75-820F-06CA297248A0}"/>
          </ac:spMkLst>
        </pc:spChg>
      </pc:sldChg>
      <pc:sldChg chg="modSp add del mod">
        <pc:chgData name="Bahrami Jovein, Layla (she/her)" userId="564c9fd6-df70-4614-9d39-b1969e2021ac" providerId="ADAL" clId="{FD801BB5-6C41-42BD-B611-F0B6F730DF36}" dt="2024-01-09T15:58:10.875" v="2262" actId="47"/>
        <pc:sldMkLst>
          <pc:docMk/>
          <pc:sldMk cId="316011941" sldId="2147477696"/>
        </pc:sldMkLst>
        <pc:spChg chg="mod">
          <ac:chgData name="Bahrami Jovein, Layla (she/her)" userId="564c9fd6-df70-4614-9d39-b1969e2021ac" providerId="ADAL" clId="{FD801BB5-6C41-42BD-B611-F0B6F730DF36}" dt="2024-01-03T15:19:44.637" v="2216" actId="20577"/>
          <ac:spMkLst>
            <pc:docMk/>
            <pc:sldMk cId="316011941" sldId="2147477696"/>
            <ac:spMk id="7" creationId="{00000000-0000-0000-0000-000000000000}"/>
          </ac:spMkLst>
        </pc:spChg>
        <pc:spChg chg="mod">
          <ac:chgData name="Bahrami Jovein, Layla (she/her)" userId="564c9fd6-df70-4614-9d39-b1969e2021ac" providerId="ADAL" clId="{FD801BB5-6C41-42BD-B611-F0B6F730DF36}" dt="2024-01-03T15:19:35.249" v="2213" actId="20577"/>
          <ac:spMkLst>
            <pc:docMk/>
            <pc:sldMk cId="316011941" sldId="2147477696"/>
            <ac:spMk id="20" creationId="{CEF26655-6C44-7F4A-E769-2145A25ABCCB}"/>
          </ac:spMkLst>
        </pc:spChg>
      </pc:sldChg>
      <pc:sldChg chg="modSp new del mod ord">
        <pc:chgData name="Bahrami Jovein, Layla (she/her)" userId="564c9fd6-df70-4614-9d39-b1969e2021ac" providerId="ADAL" clId="{FD801BB5-6C41-42BD-B611-F0B6F730DF36}" dt="2024-01-03T10:44:21.052" v="1382" actId="47"/>
        <pc:sldMkLst>
          <pc:docMk/>
          <pc:sldMk cId="2679319757" sldId="2147477696"/>
        </pc:sldMkLst>
        <pc:spChg chg="mod">
          <ac:chgData name="Bahrami Jovein, Layla (she/her)" userId="564c9fd6-df70-4614-9d39-b1969e2021ac" providerId="ADAL" clId="{FD801BB5-6C41-42BD-B611-F0B6F730DF36}" dt="2024-01-03T10:43:45.402" v="1357" actId="20577"/>
          <ac:spMkLst>
            <pc:docMk/>
            <pc:sldMk cId="2679319757" sldId="2147477696"/>
            <ac:spMk id="3" creationId="{71505BDB-6390-7220-E7CC-D4DE80774974}"/>
          </ac:spMkLst>
        </pc:spChg>
      </pc:sldChg>
      <pc:sldChg chg="modSp add mod ord">
        <pc:chgData name="Bahrami Jovein, Layla (she/her)" userId="564c9fd6-df70-4614-9d39-b1969e2021ac" providerId="ADAL" clId="{FD801BB5-6C41-42BD-B611-F0B6F730DF36}" dt="2024-01-08T11:09:15.644" v="2222" actId="20577"/>
        <pc:sldMkLst>
          <pc:docMk/>
          <pc:sldMk cId="2082674793" sldId="2147477697"/>
        </pc:sldMkLst>
        <pc:spChg chg="mod">
          <ac:chgData name="Bahrami Jovein, Layla (she/her)" userId="564c9fd6-df70-4614-9d39-b1969e2021ac" providerId="ADAL" clId="{FD801BB5-6C41-42BD-B611-F0B6F730DF36}" dt="2024-01-03T15:13:36.116" v="1890" actId="20577"/>
          <ac:spMkLst>
            <pc:docMk/>
            <pc:sldMk cId="2082674793" sldId="2147477697"/>
            <ac:spMk id="7" creationId="{00000000-0000-0000-0000-000000000000}"/>
          </ac:spMkLst>
        </pc:spChg>
        <pc:spChg chg="mod">
          <ac:chgData name="Bahrami Jovein, Layla (she/her)" userId="564c9fd6-df70-4614-9d39-b1969e2021ac" providerId="ADAL" clId="{FD801BB5-6C41-42BD-B611-F0B6F730DF36}" dt="2024-01-08T11:09:15.644" v="2222" actId="20577"/>
          <ac:spMkLst>
            <pc:docMk/>
            <pc:sldMk cId="2082674793" sldId="2147477697"/>
            <ac:spMk id="20" creationId="{CEF26655-6C44-7F4A-E769-2145A25ABCCB}"/>
          </ac:spMkLst>
        </pc:spChg>
      </pc:sldChg>
      <pc:sldChg chg="modSp add mod ord">
        <pc:chgData name="Bahrami Jovein, Layla (she/her)" userId="564c9fd6-df70-4614-9d39-b1969e2021ac" providerId="ADAL" clId="{FD801BB5-6C41-42BD-B611-F0B6F730DF36}" dt="2024-01-03T15:05:34.397" v="1548" actId="20577"/>
        <pc:sldMkLst>
          <pc:docMk/>
          <pc:sldMk cId="802632363" sldId="2147477698"/>
        </pc:sldMkLst>
        <pc:spChg chg="mod">
          <ac:chgData name="Bahrami Jovein, Layla (she/her)" userId="564c9fd6-df70-4614-9d39-b1969e2021ac" providerId="ADAL" clId="{FD801BB5-6C41-42BD-B611-F0B6F730DF36}" dt="2024-01-03T15:04:53.180" v="1436" actId="20577"/>
          <ac:spMkLst>
            <pc:docMk/>
            <pc:sldMk cId="802632363" sldId="2147477698"/>
            <ac:spMk id="7" creationId="{00000000-0000-0000-0000-000000000000}"/>
          </ac:spMkLst>
        </pc:spChg>
        <pc:spChg chg="mod">
          <ac:chgData name="Bahrami Jovein, Layla (she/her)" userId="564c9fd6-df70-4614-9d39-b1969e2021ac" providerId="ADAL" clId="{FD801BB5-6C41-42BD-B611-F0B6F730DF36}" dt="2024-01-03T15:05:34.397" v="1548" actId="20577"/>
          <ac:spMkLst>
            <pc:docMk/>
            <pc:sldMk cId="802632363" sldId="2147477698"/>
            <ac:spMk id="20" creationId="{CEF26655-6C44-7F4A-E769-2145A25ABCCB}"/>
          </ac:spMkLst>
        </pc:spChg>
      </pc:sldChg>
      <pc:sldChg chg="add">
        <pc:chgData name="Bahrami Jovein, Layla (she/her)" userId="564c9fd6-df70-4614-9d39-b1969e2021ac" providerId="ADAL" clId="{FD801BB5-6C41-42BD-B611-F0B6F730DF36}" dt="2024-01-08T11:25:27.245" v="2223" actId="2890"/>
        <pc:sldMkLst>
          <pc:docMk/>
          <pc:sldMk cId="2064188170" sldId="2147477698"/>
        </pc:sldMkLst>
      </pc:sldChg>
      <pc:sldChg chg="modSp add del mod modShow">
        <pc:chgData name="Bahrami Jovein, Layla (she/her)" userId="564c9fd6-df70-4614-9d39-b1969e2021ac" providerId="ADAL" clId="{FD801BB5-6C41-42BD-B611-F0B6F730DF36}" dt="2024-01-09T15:57:38.019" v="2253" actId="2696"/>
        <pc:sldMkLst>
          <pc:docMk/>
          <pc:sldMk cId="634103522" sldId="2147477701"/>
        </pc:sldMkLst>
        <pc:graphicFrameChg chg="modGraphic">
          <ac:chgData name="Bahrami Jovein, Layla (she/her)" userId="564c9fd6-df70-4614-9d39-b1969e2021ac" providerId="ADAL" clId="{FD801BB5-6C41-42BD-B611-F0B6F730DF36}" dt="2024-01-09T11:48:27.970" v="2249" actId="20577"/>
          <ac:graphicFrameMkLst>
            <pc:docMk/>
            <pc:sldMk cId="634103522" sldId="2147477701"/>
            <ac:graphicFrameMk id="5" creationId="{416F253E-86A2-4EC3-87C8-A3D626B36ADC}"/>
          </ac:graphicFrameMkLst>
        </pc:graphicFrameChg>
      </pc:sldChg>
      <pc:sldMasterChg chg="addSldLayout delSldLayout">
        <pc:chgData name="Bahrami Jovein, Layla (she/her)" userId="564c9fd6-df70-4614-9d39-b1969e2021ac" providerId="ADAL" clId="{FD801BB5-6C41-42BD-B611-F0B6F730DF36}" dt="2023-12-22T18:32:21.640" v="1111" actId="47"/>
        <pc:sldMasterMkLst>
          <pc:docMk/>
          <pc:sldMasterMk cId="812731997" sldId="2147483734"/>
        </pc:sldMasterMkLst>
        <pc:sldLayoutChg chg="add del">
          <pc:chgData name="Bahrami Jovein, Layla (she/her)" userId="564c9fd6-df70-4614-9d39-b1969e2021ac" providerId="ADAL" clId="{FD801BB5-6C41-42BD-B611-F0B6F730DF36}" dt="2023-12-22T18:32:21.640" v="1111" actId="47"/>
          <pc:sldLayoutMkLst>
            <pc:docMk/>
            <pc:sldMasterMk cId="812731997" sldId="2147483734"/>
            <pc:sldLayoutMk cId="3624234883" sldId="2147483923"/>
          </pc:sldLayoutMkLst>
        </pc:sldLayoutChg>
      </pc:sldMasterChg>
    </pc:docChg>
  </pc:docChgLst>
  <pc:docChgLst>
    <pc:chgData name="Bahrami Jovein, Layla (she/her)" userId="564c9fd6-df70-4614-9d39-b1969e2021ac" providerId="ADAL" clId="{5B21F56C-CA58-49D0-95D7-3D098E8D135B}"/>
    <pc:docChg chg="custSel addSld delSld modSld delMainMaster">
      <pc:chgData name="Bahrami Jovein, Layla (she/her)" userId="564c9fd6-df70-4614-9d39-b1969e2021ac" providerId="ADAL" clId="{5B21F56C-CA58-49D0-95D7-3D098E8D135B}" dt="2023-12-06T14:12:32.962" v="71" actId="20577"/>
      <pc:docMkLst>
        <pc:docMk/>
      </pc:docMkLst>
      <pc:sldChg chg="del">
        <pc:chgData name="Bahrami Jovein, Layla (she/her)" userId="564c9fd6-df70-4614-9d39-b1969e2021ac" providerId="ADAL" clId="{5B21F56C-CA58-49D0-95D7-3D098E8D135B}" dt="2023-12-06T14:10:38.866" v="7" actId="47"/>
        <pc:sldMkLst>
          <pc:docMk/>
          <pc:sldMk cId="1061381923" sldId="257"/>
        </pc:sldMkLst>
      </pc:sldChg>
      <pc:sldChg chg="del">
        <pc:chgData name="Bahrami Jovein, Layla (she/her)" userId="564c9fd6-df70-4614-9d39-b1969e2021ac" providerId="ADAL" clId="{5B21F56C-CA58-49D0-95D7-3D098E8D135B}" dt="2023-12-06T14:11:26.482" v="33" actId="47"/>
        <pc:sldMkLst>
          <pc:docMk/>
          <pc:sldMk cId="3564256173" sldId="399"/>
        </pc:sldMkLst>
      </pc:sldChg>
      <pc:sldChg chg="del">
        <pc:chgData name="Bahrami Jovein, Layla (she/her)" userId="564c9fd6-df70-4614-9d39-b1969e2021ac" providerId="ADAL" clId="{5B21F56C-CA58-49D0-95D7-3D098E8D135B}" dt="2023-12-06T14:11:26.173" v="32" actId="47"/>
        <pc:sldMkLst>
          <pc:docMk/>
          <pc:sldMk cId="3708406282" sldId="407"/>
        </pc:sldMkLst>
      </pc:sldChg>
      <pc:sldChg chg="del">
        <pc:chgData name="Bahrami Jovein, Layla (she/her)" userId="564c9fd6-df70-4614-9d39-b1969e2021ac" providerId="ADAL" clId="{5B21F56C-CA58-49D0-95D7-3D098E8D135B}" dt="2023-12-06T14:11:41.225" v="44" actId="47"/>
        <pc:sldMkLst>
          <pc:docMk/>
          <pc:sldMk cId="3085173106" sldId="408"/>
        </pc:sldMkLst>
      </pc:sldChg>
      <pc:sldChg chg="del">
        <pc:chgData name="Bahrami Jovein, Layla (she/her)" userId="564c9fd6-df70-4614-9d39-b1969e2021ac" providerId="ADAL" clId="{5B21F56C-CA58-49D0-95D7-3D098E8D135B}" dt="2023-12-06T14:11:41.750" v="45" actId="47"/>
        <pc:sldMkLst>
          <pc:docMk/>
          <pc:sldMk cId="1907522507" sldId="410"/>
        </pc:sldMkLst>
      </pc:sldChg>
      <pc:sldChg chg="del">
        <pc:chgData name="Bahrami Jovein, Layla (she/her)" userId="564c9fd6-df70-4614-9d39-b1969e2021ac" providerId="ADAL" clId="{5B21F56C-CA58-49D0-95D7-3D098E8D135B}" dt="2023-12-06T14:11:42.141" v="46" actId="47"/>
        <pc:sldMkLst>
          <pc:docMk/>
          <pc:sldMk cId="3172798529" sldId="411"/>
        </pc:sldMkLst>
      </pc:sldChg>
      <pc:sldChg chg="del">
        <pc:chgData name="Bahrami Jovein, Layla (she/her)" userId="564c9fd6-df70-4614-9d39-b1969e2021ac" providerId="ADAL" clId="{5B21F56C-CA58-49D0-95D7-3D098E8D135B}" dt="2023-12-06T14:11:42.340" v="47" actId="47"/>
        <pc:sldMkLst>
          <pc:docMk/>
          <pc:sldMk cId="1219155860" sldId="412"/>
        </pc:sldMkLst>
      </pc:sldChg>
      <pc:sldChg chg="del">
        <pc:chgData name="Bahrami Jovein, Layla (she/her)" userId="564c9fd6-df70-4614-9d39-b1969e2021ac" providerId="ADAL" clId="{5B21F56C-CA58-49D0-95D7-3D098E8D135B}" dt="2023-12-06T14:11:43.101" v="49" actId="47"/>
        <pc:sldMkLst>
          <pc:docMk/>
          <pc:sldMk cId="3087562737" sldId="413"/>
        </pc:sldMkLst>
      </pc:sldChg>
      <pc:sldChg chg="del">
        <pc:chgData name="Bahrami Jovein, Layla (she/her)" userId="564c9fd6-df70-4614-9d39-b1969e2021ac" providerId="ADAL" clId="{5B21F56C-CA58-49D0-95D7-3D098E8D135B}" dt="2023-12-06T14:11:43.948" v="51" actId="47"/>
        <pc:sldMkLst>
          <pc:docMk/>
          <pc:sldMk cId="1706073872" sldId="437"/>
        </pc:sldMkLst>
      </pc:sldChg>
      <pc:sldChg chg="del">
        <pc:chgData name="Bahrami Jovein, Layla (she/her)" userId="564c9fd6-df70-4614-9d39-b1969e2021ac" providerId="ADAL" clId="{5B21F56C-CA58-49D0-95D7-3D098E8D135B}" dt="2023-12-06T14:11:44.205" v="52" actId="47"/>
        <pc:sldMkLst>
          <pc:docMk/>
          <pc:sldMk cId="3487489041" sldId="438"/>
        </pc:sldMkLst>
      </pc:sldChg>
      <pc:sldChg chg="del">
        <pc:chgData name="Bahrami Jovein, Layla (she/her)" userId="564c9fd6-df70-4614-9d39-b1969e2021ac" providerId="ADAL" clId="{5B21F56C-CA58-49D0-95D7-3D098E8D135B}" dt="2023-12-06T14:11:44.523" v="53" actId="47"/>
        <pc:sldMkLst>
          <pc:docMk/>
          <pc:sldMk cId="3885563213" sldId="439"/>
        </pc:sldMkLst>
      </pc:sldChg>
      <pc:sldChg chg="del">
        <pc:chgData name="Bahrami Jovein, Layla (she/her)" userId="564c9fd6-df70-4614-9d39-b1969e2021ac" providerId="ADAL" clId="{5B21F56C-CA58-49D0-95D7-3D098E8D135B}" dt="2023-12-06T14:11:46.844" v="55" actId="47"/>
        <pc:sldMkLst>
          <pc:docMk/>
          <pc:sldMk cId="3798825509" sldId="440"/>
        </pc:sldMkLst>
      </pc:sldChg>
      <pc:sldChg chg="del">
        <pc:chgData name="Bahrami Jovein, Layla (she/her)" userId="564c9fd6-df70-4614-9d39-b1969e2021ac" providerId="ADAL" clId="{5B21F56C-CA58-49D0-95D7-3D098E8D135B}" dt="2023-12-06T14:11:45.368" v="54" actId="47"/>
        <pc:sldMkLst>
          <pc:docMk/>
          <pc:sldMk cId="116151818" sldId="451"/>
        </pc:sldMkLst>
      </pc:sldChg>
      <pc:sldChg chg="del">
        <pc:chgData name="Bahrami Jovein, Layla (she/her)" userId="564c9fd6-df70-4614-9d39-b1969e2021ac" providerId="ADAL" clId="{5B21F56C-CA58-49D0-95D7-3D098E8D135B}" dt="2023-12-06T14:11:25.684" v="31" actId="47"/>
        <pc:sldMkLst>
          <pc:docMk/>
          <pc:sldMk cId="2895603227" sldId="499"/>
        </pc:sldMkLst>
      </pc:sldChg>
      <pc:sldChg chg="modSp mod">
        <pc:chgData name="Bahrami Jovein, Layla (she/her)" userId="564c9fd6-df70-4614-9d39-b1969e2021ac" providerId="ADAL" clId="{5B21F56C-CA58-49D0-95D7-3D098E8D135B}" dt="2023-12-06T14:11:35.800" v="40" actId="20577"/>
        <pc:sldMkLst>
          <pc:docMk/>
          <pc:sldMk cId="2866105338" sldId="1450"/>
        </pc:sldMkLst>
        <pc:spChg chg="mod">
          <ac:chgData name="Bahrami Jovein, Layla (she/her)" userId="564c9fd6-df70-4614-9d39-b1969e2021ac" providerId="ADAL" clId="{5B21F56C-CA58-49D0-95D7-3D098E8D135B}" dt="2023-12-06T14:11:33.695" v="39" actId="20577"/>
          <ac:spMkLst>
            <pc:docMk/>
            <pc:sldMk cId="2866105338" sldId="1450"/>
            <ac:spMk id="4" creationId="{00000000-0000-0000-0000-000000000000}"/>
          </ac:spMkLst>
        </pc:spChg>
        <pc:spChg chg="mod">
          <ac:chgData name="Bahrami Jovein, Layla (she/her)" userId="564c9fd6-df70-4614-9d39-b1969e2021ac" providerId="ADAL" clId="{5B21F56C-CA58-49D0-95D7-3D098E8D135B}" dt="2023-12-06T14:11:35.800" v="40" actId="20577"/>
          <ac:spMkLst>
            <pc:docMk/>
            <pc:sldMk cId="2866105338" sldId="1450"/>
            <ac:spMk id="19" creationId="{43853592-F1F6-767F-517B-CC0E4128C6D9}"/>
          </ac:spMkLst>
        </pc:spChg>
      </pc:sldChg>
      <pc:sldChg chg="modSp mod">
        <pc:chgData name="Bahrami Jovein, Layla (she/her)" userId="564c9fd6-df70-4614-9d39-b1969e2021ac" providerId="ADAL" clId="{5B21F56C-CA58-49D0-95D7-3D098E8D135B}" dt="2023-12-06T14:12:04.714" v="67" actId="20577"/>
        <pc:sldMkLst>
          <pc:docMk/>
          <pc:sldMk cId="1996753582" sldId="2741"/>
        </pc:sldMkLst>
        <pc:spChg chg="mod">
          <ac:chgData name="Bahrami Jovein, Layla (she/her)" userId="564c9fd6-df70-4614-9d39-b1969e2021ac" providerId="ADAL" clId="{5B21F56C-CA58-49D0-95D7-3D098E8D135B}" dt="2023-12-06T14:12:04.714" v="67" actId="20577"/>
          <ac:spMkLst>
            <pc:docMk/>
            <pc:sldMk cId="1996753582" sldId="2741"/>
            <ac:spMk id="5" creationId="{9C033F2B-7FE8-4FF6-8B60-8AC7303AE0FF}"/>
          </ac:spMkLst>
        </pc:spChg>
        <pc:spChg chg="mod">
          <ac:chgData name="Bahrami Jovein, Layla (she/her)" userId="564c9fd6-df70-4614-9d39-b1969e2021ac" providerId="ADAL" clId="{5B21F56C-CA58-49D0-95D7-3D098E8D135B}" dt="2023-12-06T14:11:59.780" v="63" actId="20577"/>
          <ac:spMkLst>
            <pc:docMk/>
            <pc:sldMk cId="1996753582" sldId="2741"/>
            <ac:spMk id="12" creationId="{AD99B8E7-F7C9-46EB-8B7B-7FF236ABA5CB}"/>
          </ac:spMkLst>
        </pc:spChg>
      </pc:sldChg>
      <pc:sldChg chg="delSp modSp mod">
        <pc:chgData name="Bahrami Jovein, Layla (she/her)" userId="564c9fd6-df70-4614-9d39-b1969e2021ac" providerId="ADAL" clId="{5B21F56C-CA58-49D0-95D7-3D098E8D135B}" dt="2023-12-06T14:12:18.703" v="69" actId="1076"/>
        <pc:sldMkLst>
          <pc:docMk/>
          <pc:sldMk cId="345097665" sldId="2745"/>
        </pc:sldMkLst>
        <pc:spChg chg="del">
          <ac:chgData name="Bahrami Jovein, Layla (she/her)" userId="564c9fd6-df70-4614-9d39-b1969e2021ac" providerId="ADAL" clId="{5B21F56C-CA58-49D0-95D7-3D098E8D135B}" dt="2023-12-06T14:12:12.478" v="68" actId="478"/>
          <ac:spMkLst>
            <pc:docMk/>
            <pc:sldMk cId="345097665" sldId="2745"/>
            <ac:spMk id="5" creationId="{4DCC031D-A424-71B5-65BB-F63749AE7DE3}"/>
          </ac:spMkLst>
        </pc:spChg>
        <pc:grpChg chg="mod">
          <ac:chgData name="Bahrami Jovein, Layla (she/her)" userId="564c9fd6-df70-4614-9d39-b1969e2021ac" providerId="ADAL" clId="{5B21F56C-CA58-49D0-95D7-3D098E8D135B}" dt="2023-12-06T14:12:18.703" v="69" actId="1076"/>
          <ac:grpSpMkLst>
            <pc:docMk/>
            <pc:sldMk cId="345097665" sldId="2745"/>
            <ac:grpSpMk id="9" creationId="{78F66D6A-6979-619A-6347-FDB189FCB9E7}"/>
          </ac:grpSpMkLst>
        </pc:grpChg>
      </pc:sldChg>
      <pc:sldChg chg="del">
        <pc:chgData name="Bahrami Jovein, Layla (she/her)" userId="564c9fd6-df70-4614-9d39-b1969e2021ac" providerId="ADAL" clId="{5B21F56C-CA58-49D0-95D7-3D098E8D135B}" dt="2023-12-06T14:11:42.547" v="48" actId="47"/>
        <pc:sldMkLst>
          <pc:docMk/>
          <pc:sldMk cId="3344007607" sldId="2145872127"/>
        </pc:sldMkLst>
      </pc:sldChg>
      <pc:sldChg chg="del">
        <pc:chgData name="Bahrami Jovein, Layla (she/her)" userId="564c9fd6-df70-4614-9d39-b1969e2021ac" providerId="ADAL" clId="{5B21F56C-CA58-49D0-95D7-3D098E8D135B}" dt="2023-12-06T14:11:27.366" v="35" actId="47"/>
        <pc:sldMkLst>
          <pc:docMk/>
          <pc:sldMk cId="4015417511" sldId="2145872224"/>
        </pc:sldMkLst>
      </pc:sldChg>
      <pc:sldChg chg="del">
        <pc:chgData name="Bahrami Jovein, Layla (she/her)" userId="564c9fd6-df70-4614-9d39-b1969e2021ac" providerId="ADAL" clId="{5B21F56C-CA58-49D0-95D7-3D098E8D135B}" dt="2023-12-06T14:11:27.768" v="36" actId="47"/>
        <pc:sldMkLst>
          <pc:docMk/>
          <pc:sldMk cId="2008286727" sldId="2145872228"/>
        </pc:sldMkLst>
      </pc:sldChg>
      <pc:sldChg chg="del">
        <pc:chgData name="Bahrami Jovein, Layla (she/her)" userId="564c9fd6-df70-4614-9d39-b1969e2021ac" providerId="ADAL" clId="{5B21F56C-CA58-49D0-95D7-3D098E8D135B}" dt="2023-12-06T14:11:28.513" v="38" actId="47"/>
        <pc:sldMkLst>
          <pc:docMk/>
          <pc:sldMk cId="4176337389" sldId="2145872236"/>
        </pc:sldMkLst>
      </pc:sldChg>
      <pc:sldChg chg="del">
        <pc:chgData name="Bahrami Jovein, Layla (she/her)" userId="564c9fd6-df70-4614-9d39-b1969e2021ac" providerId="ADAL" clId="{5B21F56C-CA58-49D0-95D7-3D098E8D135B}" dt="2023-12-06T14:11:26.908" v="34" actId="47"/>
        <pc:sldMkLst>
          <pc:docMk/>
          <pc:sldMk cId="2171135779" sldId="2145872247"/>
        </pc:sldMkLst>
      </pc:sldChg>
      <pc:sldChg chg="del">
        <pc:chgData name="Bahrami Jovein, Layla (she/her)" userId="564c9fd6-df70-4614-9d39-b1969e2021ac" providerId="ADAL" clId="{5B21F56C-CA58-49D0-95D7-3D098E8D135B}" dt="2023-12-06T14:11:28.196" v="37" actId="47"/>
        <pc:sldMkLst>
          <pc:docMk/>
          <pc:sldMk cId="2053947840" sldId="2145872252"/>
        </pc:sldMkLst>
      </pc:sldChg>
      <pc:sldChg chg="del">
        <pc:chgData name="Bahrami Jovein, Layla (she/her)" userId="564c9fd6-df70-4614-9d39-b1969e2021ac" providerId="ADAL" clId="{5B21F56C-CA58-49D0-95D7-3D098E8D135B}" dt="2023-12-06T14:11:47.501" v="57" actId="47"/>
        <pc:sldMkLst>
          <pc:docMk/>
          <pc:sldMk cId="307846559" sldId="2146847303"/>
        </pc:sldMkLst>
      </pc:sldChg>
      <pc:sldChg chg="del">
        <pc:chgData name="Bahrami Jovein, Layla (she/her)" userId="564c9fd6-df70-4614-9d39-b1969e2021ac" providerId="ADAL" clId="{5B21F56C-CA58-49D0-95D7-3D098E8D135B}" dt="2023-12-06T14:11:49.252" v="60" actId="47"/>
        <pc:sldMkLst>
          <pc:docMk/>
          <pc:sldMk cId="4233650089" sldId="2146847304"/>
        </pc:sldMkLst>
      </pc:sldChg>
      <pc:sldChg chg="del">
        <pc:chgData name="Bahrami Jovein, Layla (she/her)" userId="564c9fd6-df70-4614-9d39-b1969e2021ac" providerId="ADAL" clId="{5B21F56C-CA58-49D0-95D7-3D098E8D135B}" dt="2023-12-06T14:11:48.742" v="59" actId="47"/>
        <pc:sldMkLst>
          <pc:docMk/>
          <pc:sldMk cId="3071316320" sldId="2146847365"/>
        </pc:sldMkLst>
      </pc:sldChg>
      <pc:sldChg chg="del">
        <pc:chgData name="Bahrami Jovein, Layla (she/her)" userId="564c9fd6-df70-4614-9d39-b1969e2021ac" providerId="ADAL" clId="{5B21F56C-CA58-49D0-95D7-3D098E8D135B}" dt="2023-12-06T14:11:49.661" v="61" actId="47"/>
        <pc:sldMkLst>
          <pc:docMk/>
          <pc:sldMk cId="367783256" sldId="2146847367"/>
        </pc:sldMkLst>
      </pc:sldChg>
      <pc:sldChg chg="modSp mod">
        <pc:chgData name="Bahrami Jovein, Layla (she/her)" userId="564c9fd6-df70-4614-9d39-b1969e2021ac" providerId="ADAL" clId="{5B21F56C-CA58-49D0-95D7-3D098E8D135B}" dt="2023-12-06T14:12:32.962" v="71" actId="20577"/>
        <pc:sldMkLst>
          <pc:docMk/>
          <pc:sldMk cId="146764026" sldId="2147477486"/>
        </pc:sldMkLst>
        <pc:spChg chg="mod">
          <ac:chgData name="Bahrami Jovein, Layla (she/her)" userId="564c9fd6-df70-4614-9d39-b1969e2021ac" providerId="ADAL" clId="{5B21F56C-CA58-49D0-95D7-3D098E8D135B}" dt="2023-12-06T14:12:32.962" v="71" actId="20577"/>
          <ac:spMkLst>
            <pc:docMk/>
            <pc:sldMk cId="146764026" sldId="2147477486"/>
            <ac:spMk id="2" creationId="{085535D4-D810-FCF5-8EB8-30CD82E3D354}"/>
          </ac:spMkLst>
        </pc:spChg>
      </pc:sldChg>
      <pc:sldChg chg="modSp mod">
        <pc:chgData name="Bahrami Jovein, Layla (she/her)" userId="564c9fd6-df70-4614-9d39-b1969e2021ac" providerId="ADAL" clId="{5B21F56C-CA58-49D0-95D7-3D098E8D135B}" dt="2023-12-06T14:12:27.994" v="70" actId="20577"/>
        <pc:sldMkLst>
          <pc:docMk/>
          <pc:sldMk cId="769345967" sldId="2147477641"/>
        </pc:sldMkLst>
        <pc:spChg chg="mod">
          <ac:chgData name="Bahrami Jovein, Layla (she/her)" userId="564c9fd6-df70-4614-9d39-b1969e2021ac" providerId="ADAL" clId="{5B21F56C-CA58-49D0-95D7-3D098E8D135B}" dt="2023-12-06T14:12:27.994" v="70" actId="20577"/>
          <ac:spMkLst>
            <pc:docMk/>
            <pc:sldMk cId="769345967" sldId="2147477641"/>
            <ac:spMk id="3" creationId="{00000000-0000-0000-0000-000000000000}"/>
          </ac:spMkLst>
        </pc:spChg>
      </pc:sldChg>
      <pc:sldChg chg="del">
        <pc:chgData name="Bahrami Jovein, Layla (she/her)" userId="564c9fd6-df70-4614-9d39-b1969e2021ac" providerId="ADAL" clId="{5B21F56C-CA58-49D0-95D7-3D098E8D135B}" dt="2023-12-06T14:11:47.084" v="56" actId="47"/>
        <pc:sldMkLst>
          <pc:docMk/>
          <pc:sldMk cId="588952689" sldId="2147477657"/>
        </pc:sldMkLst>
      </pc:sldChg>
      <pc:sldChg chg="del">
        <pc:chgData name="Bahrami Jovein, Layla (she/her)" userId="564c9fd6-df70-4614-9d39-b1969e2021ac" providerId="ADAL" clId="{5B21F56C-CA58-49D0-95D7-3D098E8D135B}" dt="2023-12-06T14:11:40.174" v="43" actId="47"/>
        <pc:sldMkLst>
          <pc:docMk/>
          <pc:sldMk cId="1188650100" sldId="2147477658"/>
        </pc:sldMkLst>
      </pc:sldChg>
      <pc:sldChg chg="del">
        <pc:chgData name="Bahrami Jovein, Layla (she/her)" userId="564c9fd6-df70-4614-9d39-b1969e2021ac" providerId="ADAL" clId="{5B21F56C-CA58-49D0-95D7-3D098E8D135B}" dt="2023-12-06T14:11:43.604" v="50" actId="47"/>
        <pc:sldMkLst>
          <pc:docMk/>
          <pc:sldMk cId="1336682426" sldId="2147477659"/>
        </pc:sldMkLst>
      </pc:sldChg>
      <pc:sldChg chg="del">
        <pc:chgData name="Bahrami Jovein, Layla (she/her)" userId="564c9fd6-df70-4614-9d39-b1969e2021ac" providerId="ADAL" clId="{5B21F56C-CA58-49D0-95D7-3D098E8D135B}" dt="2023-12-06T14:11:25.150" v="30" actId="47"/>
        <pc:sldMkLst>
          <pc:docMk/>
          <pc:sldMk cId="1679602006" sldId="2147477660"/>
        </pc:sldMkLst>
      </pc:sldChg>
      <pc:sldChg chg="modSp mod">
        <pc:chgData name="Bahrami Jovein, Layla (she/her)" userId="564c9fd6-df70-4614-9d39-b1969e2021ac" providerId="ADAL" clId="{5B21F56C-CA58-49D0-95D7-3D098E8D135B}" dt="2023-12-06T14:11:18.452" v="29" actId="21"/>
        <pc:sldMkLst>
          <pc:docMk/>
          <pc:sldMk cId="3335172176" sldId="2147477661"/>
        </pc:sldMkLst>
        <pc:graphicFrameChg chg="modGraphic">
          <ac:chgData name="Bahrami Jovein, Layla (she/her)" userId="564c9fd6-df70-4614-9d39-b1969e2021ac" providerId="ADAL" clId="{5B21F56C-CA58-49D0-95D7-3D098E8D135B}" dt="2023-12-06T14:11:18.452" v="29" actId="21"/>
          <ac:graphicFrameMkLst>
            <pc:docMk/>
            <pc:sldMk cId="3335172176" sldId="2147477661"/>
            <ac:graphicFrameMk id="5" creationId="{416F253E-86A2-4EC3-87C8-A3D626B36ADC}"/>
          </ac:graphicFrameMkLst>
        </pc:graphicFrameChg>
      </pc:sldChg>
      <pc:sldChg chg="del">
        <pc:chgData name="Bahrami Jovein, Layla (she/her)" userId="564c9fd6-df70-4614-9d39-b1969e2021ac" providerId="ADAL" clId="{5B21F56C-CA58-49D0-95D7-3D098E8D135B}" dt="2023-12-06T14:11:48.478" v="58" actId="47"/>
        <pc:sldMkLst>
          <pc:docMk/>
          <pc:sldMk cId="517935762" sldId="2147477662"/>
        </pc:sldMkLst>
      </pc:sldChg>
      <pc:sldChg chg="del">
        <pc:chgData name="Bahrami Jovein, Layla (she/her)" userId="564c9fd6-df70-4614-9d39-b1969e2021ac" providerId="ADAL" clId="{5B21F56C-CA58-49D0-95D7-3D098E8D135B}" dt="2023-12-06T14:11:50.848" v="62" actId="47"/>
        <pc:sldMkLst>
          <pc:docMk/>
          <pc:sldMk cId="2964119195" sldId="2147477666"/>
        </pc:sldMkLst>
      </pc:sldChg>
      <pc:sldChg chg="modSp new mod">
        <pc:chgData name="Bahrami Jovein, Layla (she/her)" userId="564c9fd6-df70-4614-9d39-b1969e2021ac" providerId="ADAL" clId="{5B21F56C-CA58-49D0-95D7-3D098E8D135B}" dt="2023-12-06T14:11:00.190" v="26" actId="20577"/>
        <pc:sldMkLst>
          <pc:docMk/>
          <pc:sldMk cId="1578626433" sldId="2147477667"/>
        </pc:sldMkLst>
        <pc:spChg chg="mod">
          <ac:chgData name="Bahrami Jovein, Layla (she/her)" userId="564c9fd6-df70-4614-9d39-b1969e2021ac" providerId="ADAL" clId="{5B21F56C-CA58-49D0-95D7-3D098E8D135B}" dt="2023-12-06T14:10:14.428" v="1"/>
          <ac:spMkLst>
            <pc:docMk/>
            <pc:sldMk cId="1578626433" sldId="2147477667"/>
            <ac:spMk id="2" creationId="{8F7651C8-53FA-2AD7-3D13-B9737723E284}"/>
          </ac:spMkLst>
        </pc:spChg>
        <pc:spChg chg="mod">
          <ac:chgData name="Bahrami Jovein, Layla (she/her)" userId="564c9fd6-df70-4614-9d39-b1969e2021ac" providerId="ADAL" clId="{5B21F56C-CA58-49D0-95D7-3D098E8D135B}" dt="2023-12-06T14:10:27.629" v="4" actId="20577"/>
          <ac:spMkLst>
            <pc:docMk/>
            <pc:sldMk cId="1578626433" sldId="2147477667"/>
            <ac:spMk id="3" creationId="{0106E4EF-C567-1943-86F7-D087EC5FB72C}"/>
          </ac:spMkLst>
        </pc:spChg>
        <pc:spChg chg="mod">
          <ac:chgData name="Bahrami Jovein, Layla (she/her)" userId="564c9fd6-df70-4614-9d39-b1969e2021ac" providerId="ADAL" clId="{5B21F56C-CA58-49D0-95D7-3D098E8D135B}" dt="2023-12-06T14:11:00.190" v="26" actId="20577"/>
          <ac:spMkLst>
            <pc:docMk/>
            <pc:sldMk cId="1578626433" sldId="2147477667"/>
            <ac:spMk id="4" creationId="{EF18EBF3-6012-62B0-42CE-74FCC0A9C654}"/>
          </ac:spMkLst>
        </pc:spChg>
      </pc:sldChg>
      <pc:sldChg chg="new del">
        <pc:chgData name="Bahrami Jovein, Layla (she/her)" userId="564c9fd6-df70-4614-9d39-b1969e2021ac" providerId="ADAL" clId="{5B21F56C-CA58-49D0-95D7-3D098E8D135B}" dt="2023-12-06T14:11:39.391" v="42" actId="47"/>
        <pc:sldMkLst>
          <pc:docMk/>
          <pc:sldMk cId="67265957" sldId="2147477668"/>
        </pc:sldMkLst>
      </pc:sldChg>
      <pc:sldMasterChg chg="del delSldLayout">
        <pc:chgData name="Bahrami Jovein, Layla (she/her)" userId="564c9fd6-df70-4614-9d39-b1969e2021ac" providerId="ADAL" clId="{5B21F56C-CA58-49D0-95D7-3D098E8D135B}" dt="2023-12-06T14:11:28.513" v="38" actId="47"/>
        <pc:sldMasterMkLst>
          <pc:docMk/>
          <pc:sldMasterMk cId="2876792550" sldId="2147483923"/>
        </pc:sldMasterMkLst>
        <pc:sldLayoutChg chg="del">
          <pc:chgData name="Bahrami Jovein, Layla (she/her)" userId="564c9fd6-df70-4614-9d39-b1969e2021ac" providerId="ADAL" clId="{5B21F56C-CA58-49D0-95D7-3D098E8D135B}" dt="2023-12-06T14:11:28.513" v="38" actId="47"/>
          <pc:sldLayoutMkLst>
            <pc:docMk/>
            <pc:sldMasterMk cId="2876792550" sldId="2147483923"/>
            <pc:sldLayoutMk cId="4081200298" sldId="2147483924"/>
          </pc:sldLayoutMkLst>
        </pc:sldLayoutChg>
        <pc:sldLayoutChg chg="del">
          <pc:chgData name="Bahrami Jovein, Layla (she/her)" userId="564c9fd6-df70-4614-9d39-b1969e2021ac" providerId="ADAL" clId="{5B21F56C-CA58-49D0-95D7-3D098E8D135B}" dt="2023-12-06T14:11:28.513" v="38" actId="47"/>
          <pc:sldLayoutMkLst>
            <pc:docMk/>
            <pc:sldMasterMk cId="2876792550" sldId="2147483923"/>
            <pc:sldLayoutMk cId="1854146164" sldId="2147483925"/>
          </pc:sldLayoutMkLst>
        </pc:sldLayoutChg>
        <pc:sldLayoutChg chg="del">
          <pc:chgData name="Bahrami Jovein, Layla (she/her)" userId="564c9fd6-df70-4614-9d39-b1969e2021ac" providerId="ADAL" clId="{5B21F56C-CA58-49D0-95D7-3D098E8D135B}" dt="2023-12-06T14:11:28.513" v="38" actId="47"/>
          <pc:sldLayoutMkLst>
            <pc:docMk/>
            <pc:sldMasterMk cId="2876792550" sldId="2147483923"/>
            <pc:sldLayoutMk cId="1819627320" sldId="2147483926"/>
          </pc:sldLayoutMkLst>
        </pc:sldLayoutChg>
        <pc:sldLayoutChg chg="del">
          <pc:chgData name="Bahrami Jovein, Layla (she/her)" userId="564c9fd6-df70-4614-9d39-b1969e2021ac" providerId="ADAL" clId="{5B21F56C-CA58-49D0-95D7-3D098E8D135B}" dt="2023-12-06T14:11:28.513" v="38" actId="47"/>
          <pc:sldLayoutMkLst>
            <pc:docMk/>
            <pc:sldMasterMk cId="2876792550" sldId="2147483923"/>
            <pc:sldLayoutMk cId="46670221" sldId="2147483927"/>
          </pc:sldLayoutMkLst>
        </pc:sldLayoutChg>
        <pc:sldLayoutChg chg="del">
          <pc:chgData name="Bahrami Jovein, Layla (she/her)" userId="564c9fd6-df70-4614-9d39-b1969e2021ac" providerId="ADAL" clId="{5B21F56C-CA58-49D0-95D7-3D098E8D135B}" dt="2023-12-06T14:11:28.513" v="38" actId="47"/>
          <pc:sldLayoutMkLst>
            <pc:docMk/>
            <pc:sldMasterMk cId="2876792550" sldId="2147483923"/>
            <pc:sldLayoutMk cId="4188127174" sldId="2147483928"/>
          </pc:sldLayoutMkLst>
        </pc:sldLayoutChg>
        <pc:sldLayoutChg chg="del">
          <pc:chgData name="Bahrami Jovein, Layla (she/her)" userId="564c9fd6-df70-4614-9d39-b1969e2021ac" providerId="ADAL" clId="{5B21F56C-CA58-49D0-95D7-3D098E8D135B}" dt="2023-12-06T14:11:28.513" v="38" actId="47"/>
          <pc:sldLayoutMkLst>
            <pc:docMk/>
            <pc:sldMasterMk cId="2876792550" sldId="2147483923"/>
            <pc:sldLayoutMk cId="183678763" sldId="2147483929"/>
          </pc:sldLayoutMkLst>
        </pc:sldLayoutChg>
        <pc:sldLayoutChg chg="del">
          <pc:chgData name="Bahrami Jovein, Layla (she/her)" userId="564c9fd6-df70-4614-9d39-b1969e2021ac" providerId="ADAL" clId="{5B21F56C-CA58-49D0-95D7-3D098E8D135B}" dt="2023-12-06T14:11:28.513" v="38" actId="47"/>
          <pc:sldLayoutMkLst>
            <pc:docMk/>
            <pc:sldMasterMk cId="2876792550" sldId="2147483923"/>
            <pc:sldLayoutMk cId="3387708561" sldId="2147483930"/>
          </pc:sldLayoutMkLst>
        </pc:sldLayoutChg>
        <pc:sldLayoutChg chg="del">
          <pc:chgData name="Bahrami Jovein, Layla (she/her)" userId="564c9fd6-df70-4614-9d39-b1969e2021ac" providerId="ADAL" clId="{5B21F56C-CA58-49D0-95D7-3D098E8D135B}" dt="2023-12-06T14:11:28.513" v="38" actId="47"/>
          <pc:sldLayoutMkLst>
            <pc:docMk/>
            <pc:sldMasterMk cId="2876792550" sldId="2147483923"/>
            <pc:sldLayoutMk cId="4063536848" sldId="2147483931"/>
          </pc:sldLayoutMkLst>
        </pc:sldLayoutChg>
        <pc:sldLayoutChg chg="del">
          <pc:chgData name="Bahrami Jovein, Layla (she/her)" userId="564c9fd6-df70-4614-9d39-b1969e2021ac" providerId="ADAL" clId="{5B21F56C-CA58-49D0-95D7-3D098E8D135B}" dt="2023-12-06T14:11:28.513" v="38" actId="47"/>
          <pc:sldLayoutMkLst>
            <pc:docMk/>
            <pc:sldMasterMk cId="2876792550" sldId="2147483923"/>
            <pc:sldLayoutMk cId="184328000" sldId="2147483932"/>
          </pc:sldLayoutMkLst>
        </pc:sldLayoutChg>
        <pc:sldLayoutChg chg="del">
          <pc:chgData name="Bahrami Jovein, Layla (she/her)" userId="564c9fd6-df70-4614-9d39-b1969e2021ac" providerId="ADAL" clId="{5B21F56C-CA58-49D0-95D7-3D098E8D135B}" dt="2023-12-06T14:11:28.513" v="38" actId="47"/>
          <pc:sldLayoutMkLst>
            <pc:docMk/>
            <pc:sldMasterMk cId="2876792550" sldId="2147483923"/>
            <pc:sldLayoutMk cId="1131315966" sldId="2147483933"/>
          </pc:sldLayoutMkLst>
        </pc:sldLayoutChg>
        <pc:sldLayoutChg chg="del">
          <pc:chgData name="Bahrami Jovein, Layla (she/her)" userId="564c9fd6-df70-4614-9d39-b1969e2021ac" providerId="ADAL" clId="{5B21F56C-CA58-49D0-95D7-3D098E8D135B}" dt="2023-12-06T14:11:28.513" v="38" actId="47"/>
          <pc:sldLayoutMkLst>
            <pc:docMk/>
            <pc:sldMasterMk cId="2876792550" sldId="2147483923"/>
            <pc:sldLayoutMk cId="2451204848" sldId="2147483934"/>
          </pc:sldLayoutMkLst>
        </pc:sldLayoutChg>
      </pc:sldMasterChg>
      <pc:sldMasterChg chg="del delSldLayout">
        <pc:chgData name="Bahrami Jovein, Layla (she/her)" userId="564c9fd6-df70-4614-9d39-b1969e2021ac" providerId="ADAL" clId="{5B21F56C-CA58-49D0-95D7-3D098E8D135B}" dt="2023-12-06T14:11:26.908" v="34" actId="47"/>
        <pc:sldMasterMkLst>
          <pc:docMk/>
          <pc:sldMasterMk cId="1802742243" sldId="2147483935"/>
        </pc:sldMasterMkLst>
        <pc:sldLayoutChg chg="del">
          <pc:chgData name="Bahrami Jovein, Layla (she/her)" userId="564c9fd6-df70-4614-9d39-b1969e2021ac" providerId="ADAL" clId="{5B21F56C-CA58-49D0-95D7-3D098E8D135B}" dt="2023-12-06T14:11:26.908" v="34" actId="47"/>
          <pc:sldLayoutMkLst>
            <pc:docMk/>
            <pc:sldMasterMk cId="1802742243" sldId="2147483935"/>
            <pc:sldLayoutMk cId="3413836006" sldId="2147483936"/>
          </pc:sldLayoutMkLst>
        </pc:sldLayoutChg>
        <pc:sldLayoutChg chg="del">
          <pc:chgData name="Bahrami Jovein, Layla (she/her)" userId="564c9fd6-df70-4614-9d39-b1969e2021ac" providerId="ADAL" clId="{5B21F56C-CA58-49D0-95D7-3D098E8D135B}" dt="2023-12-06T14:11:26.908" v="34" actId="47"/>
          <pc:sldLayoutMkLst>
            <pc:docMk/>
            <pc:sldMasterMk cId="1802742243" sldId="2147483935"/>
            <pc:sldLayoutMk cId="2792612767" sldId="2147483937"/>
          </pc:sldLayoutMkLst>
        </pc:sldLayoutChg>
        <pc:sldLayoutChg chg="del">
          <pc:chgData name="Bahrami Jovein, Layla (she/her)" userId="564c9fd6-df70-4614-9d39-b1969e2021ac" providerId="ADAL" clId="{5B21F56C-CA58-49D0-95D7-3D098E8D135B}" dt="2023-12-06T14:11:26.908" v="34" actId="47"/>
          <pc:sldLayoutMkLst>
            <pc:docMk/>
            <pc:sldMasterMk cId="1802742243" sldId="2147483935"/>
            <pc:sldLayoutMk cId="1353448725" sldId="2147483938"/>
          </pc:sldLayoutMkLst>
        </pc:sldLayoutChg>
        <pc:sldLayoutChg chg="del">
          <pc:chgData name="Bahrami Jovein, Layla (she/her)" userId="564c9fd6-df70-4614-9d39-b1969e2021ac" providerId="ADAL" clId="{5B21F56C-CA58-49D0-95D7-3D098E8D135B}" dt="2023-12-06T14:11:26.908" v="34" actId="47"/>
          <pc:sldLayoutMkLst>
            <pc:docMk/>
            <pc:sldMasterMk cId="1802742243" sldId="2147483935"/>
            <pc:sldLayoutMk cId="2419114108" sldId="2147483939"/>
          </pc:sldLayoutMkLst>
        </pc:sldLayoutChg>
        <pc:sldLayoutChg chg="del">
          <pc:chgData name="Bahrami Jovein, Layla (she/her)" userId="564c9fd6-df70-4614-9d39-b1969e2021ac" providerId="ADAL" clId="{5B21F56C-CA58-49D0-95D7-3D098E8D135B}" dt="2023-12-06T14:11:26.908" v="34" actId="47"/>
          <pc:sldLayoutMkLst>
            <pc:docMk/>
            <pc:sldMasterMk cId="1802742243" sldId="2147483935"/>
            <pc:sldLayoutMk cId="3238123751" sldId="2147483940"/>
          </pc:sldLayoutMkLst>
        </pc:sldLayoutChg>
        <pc:sldLayoutChg chg="del">
          <pc:chgData name="Bahrami Jovein, Layla (she/her)" userId="564c9fd6-df70-4614-9d39-b1969e2021ac" providerId="ADAL" clId="{5B21F56C-CA58-49D0-95D7-3D098E8D135B}" dt="2023-12-06T14:11:26.908" v="34" actId="47"/>
          <pc:sldLayoutMkLst>
            <pc:docMk/>
            <pc:sldMasterMk cId="1802742243" sldId="2147483935"/>
            <pc:sldLayoutMk cId="2483949423" sldId="2147483941"/>
          </pc:sldLayoutMkLst>
        </pc:sldLayoutChg>
        <pc:sldLayoutChg chg="del">
          <pc:chgData name="Bahrami Jovein, Layla (she/her)" userId="564c9fd6-df70-4614-9d39-b1969e2021ac" providerId="ADAL" clId="{5B21F56C-CA58-49D0-95D7-3D098E8D135B}" dt="2023-12-06T14:11:26.908" v="34" actId="47"/>
          <pc:sldLayoutMkLst>
            <pc:docMk/>
            <pc:sldMasterMk cId="1802742243" sldId="2147483935"/>
            <pc:sldLayoutMk cId="2695388884" sldId="2147483942"/>
          </pc:sldLayoutMkLst>
        </pc:sldLayoutChg>
        <pc:sldLayoutChg chg="del">
          <pc:chgData name="Bahrami Jovein, Layla (she/her)" userId="564c9fd6-df70-4614-9d39-b1969e2021ac" providerId="ADAL" clId="{5B21F56C-CA58-49D0-95D7-3D098E8D135B}" dt="2023-12-06T14:11:26.908" v="34" actId="47"/>
          <pc:sldLayoutMkLst>
            <pc:docMk/>
            <pc:sldMasterMk cId="1802742243" sldId="2147483935"/>
            <pc:sldLayoutMk cId="910300335" sldId="2147483943"/>
          </pc:sldLayoutMkLst>
        </pc:sldLayoutChg>
        <pc:sldLayoutChg chg="del">
          <pc:chgData name="Bahrami Jovein, Layla (she/her)" userId="564c9fd6-df70-4614-9d39-b1969e2021ac" providerId="ADAL" clId="{5B21F56C-CA58-49D0-95D7-3D098E8D135B}" dt="2023-12-06T14:11:26.908" v="34" actId="47"/>
          <pc:sldLayoutMkLst>
            <pc:docMk/>
            <pc:sldMasterMk cId="1802742243" sldId="2147483935"/>
            <pc:sldLayoutMk cId="557603063" sldId="2147483944"/>
          </pc:sldLayoutMkLst>
        </pc:sldLayoutChg>
        <pc:sldLayoutChg chg="del">
          <pc:chgData name="Bahrami Jovein, Layla (she/her)" userId="564c9fd6-df70-4614-9d39-b1969e2021ac" providerId="ADAL" clId="{5B21F56C-CA58-49D0-95D7-3D098E8D135B}" dt="2023-12-06T14:11:26.908" v="34" actId="47"/>
          <pc:sldLayoutMkLst>
            <pc:docMk/>
            <pc:sldMasterMk cId="1802742243" sldId="2147483935"/>
            <pc:sldLayoutMk cId="503545633" sldId="2147483945"/>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CA6F4EB-0654-44A9-9E29-06EE3FD8E1FD}" type="doc">
      <dgm:prSet loTypeId="urn:microsoft.com/office/officeart/2009/3/layout/HorizontalOrganizationChart" loCatId="hierarchy" qsTypeId="urn:microsoft.com/office/officeart/2005/8/quickstyle/simple1" qsCatId="simple" csTypeId="urn:microsoft.com/office/officeart/2005/8/colors/accent6_2" csCatId="accent6" phldr="1"/>
      <dgm:spPr/>
      <dgm:t>
        <a:bodyPr/>
        <a:lstStyle/>
        <a:p>
          <a:endParaRPr lang="en-GB"/>
        </a:p>
      </dgm:t>
    </dgm:pt>
    <dgm:pt modelId="{F489FD08-3998-497F-B293-5ED89BACCB4F}">
      <dgm:prSet phldrT="[Text]"/>
      <dgm:spPr/>
      <dgm:t>
        <a:bodyPr/>
        <a:lstStyle/>
        <a:p>
          <a:r>
            <a:rPr lang="en-GB"/>
            <a:t>Study Designs</a:t>
          </a:r>
        </a:p>
      </dgm:t>
    </dgm:pt>
    <dgm:pt modelId="{72C57395-160C-4655-A6C8-6D0C0A1CCF06}" type="parTrans" cxnId="{5F3B29E6-CC0A-494D-92B9-5B6320A8786D}">
      <dgm:prSet/>
      <dgm:spPr/>
      <dgm:t>
        <a:bodyPr/>
        <a:lstStyle/>
        <a:p>
          <a:endParaRPr lang="en-GB"/>
        </a:p>
      </dgm:t>
    </dgm:pt>
    <dgm:pt modelId="{FF45B27D-E167-4062-B5A6-25831E450331}" type="sibTrans" cxnId="{5F3B29E6-CC0A-494D-92B9-5B6320A8786D}">
      <dgm:prSet/>
      <dgm:spPr/>
      <dgm:t>
        <a:bodyPr/>
        <a:lstStyle/>
        <a:p>
          <a:endParaRPr lang="en-GB"/>
        </a:p>
      </dgm:t>
    </dgm:pt>
    <dgm:pt modelId="{8BB24B2E-BB27-4EBA-8531-6D10B8C5AAD6}">
      <dgm:prSet/>
      <dgm:spPr/>
      <dgm:t>
        <a:bodyPr/>
        <a:lstStyle/>
        <a:p>
          <a:r>
            <a:rPr lang="en-GB"/>
            <a:t>Observational</a:t>
          </a:r>
        </a:p>
      </dgm:t>
    </dgm:pt>
    <dgm:pt modelId="{CE6D8B1E-EA59-4B2A-BBE9-90880E14C6A2}" type="parTrans" cxnId="{A7CA8AE0-297B-4E2F-B58B-A931ACC90BA6}">
      <dgm:prSet/>
      <dgm:spPr/>
      <dgm:t>
        <a:bodyPr/>
        <a:lstStyle/>
        <a:p>
          <a:endParaRPr lang="en-GB"/>
        </a:p>
      </dgm:t>
    </dgm:pt>
    <dgm:pt modelId="{7D312C73-916F-4E60-9297-634748165CC9}" type="sibTrans" cxnId="{A7CA8AE0-297B-4E2F-B58B-A931ACC90BA6}">
      <dgm:prSet/>
      <dgm:spPr/>
      <dgm:t>
        <a:bodyPr/>
        <a:lstStyle/>
        <a:p>
          <a:endParaRPr lang="en-GB"/>
        </a:p>
      </dgm:t>
    </dgm:pt>
    <dgm:pt modelId="{F5096718-A2A0-423B-93E7-69DE2CA43E3E}">
      <dgm:prSet/>
      <dgm:spPr/>
      <dgm:t>
        <a:bodyPr/>
        <a:lstStyle/>
        <a:p>
          <a:r>
            <a:rPr lang="en-GB"/>
            <a:t>Experimental</a:t>
          </a:r>
        </a:p>
      </dgm:t>
    </dgm:pt>
    <dgm:pt modelId="{F1CB03DB-1CCD-4019-A371-4D9116F0E1D5}" type="parTrans" cxnId="{8588E272-29BC-4C0C-8CAD-7846600D3256}">
      <dgm:prSet/>
      <dgm:spPr/>
      <dgm:t>
        <a:bodyPr/>
        <a:lstStyle/>
        <a:p>
          <a:endParaRPr lang="en-GB"/>
        </a:p>
      </dgm:t>
    </dgm:pt>
    <dgm:pt modelId="{29B630C0-F820-4C15-887C-9CF53961DE81}" type="sibTrans" cxnId="{8588E272-29BC-4C0C-8CAD-7846600D3256}">
      <dgm:prSet/>
      <dgm:spPr/>
      <dgm:t>
        <a:bodyPr/>
        <a:lstStyle/>
        <a:p>
          <a:endParaRPr lang="en-GB"/>
        </a:p>
      </dgm:t>
    </dgm:pt>
    <dgm:pt modelId="{806A7CBA-208D-49E1-9E93-F9DB39B7349A}">
      <dgm:prSet/>
      <dgm:spPr/>
      <dgm:t>
        <a:bodyPr/>
        <a:lstStyle/>
        <a:p>
          <a:r>
            <a:rPr lang="en-GB"/>
            <a:t>Populations</a:t>
          </a:r>
        </a:p>
      </dgm:t>
    </dgm:pt>
    <dgm:pt modelId="{2FB6F6D0-BAAC-40C0-A521-11EE453038E2}" type="parTrans" cxnId="{FBF65AB1-BCCF-43ED-B3AA-6A3015858D2B}">
      <dgm:prSet/>
      <dgm:spPr/>
      <dgm:t>
        <a:bodyPr/>
        <a:lstStyle/>
        <a:p>
          <a:endParaRPr lang="en-GB"/>
        </a:p>
      </dgm:t>
    </dgm:pt>
    <dgm:pt modelId="{29A3DFA0-440D-4D97-B893-23EA11AD76D6}" type="sibTrans" cxnId="{FBF65AB1-BCCF-43ED-B3AA-6A3015858D2B}">
      <dgm:prSet/>
      <dgm:spPr/>
      <dgm:t>
        <a:bodyPr/>
        <a:lstStyle/>
        <a:p>
          <a:endParaRPr lang="en-GB"/>
        </a:p>
      </dgm:t>
    </dgm:pt>
    <dgm:pt modelId="{41AD1455-E4BC-4DDD-802B-D72127374C66}">
      <dgm:prSet/>
      <dgm:spPr/>
      <dgm:t>
        <a:bodyPr/>
        <a:lstStyle/>
        <a:p>
          <a:r>
            <a:rPr lang="en-GB"/>
            <a:t>Descriptive</a:t>
          </a:r>
        </a:p>
      </dgm:t>
    </dgm:pt>
    <dgm:pt modelId="{1F25DA71-98B7-47DF-87DA-B05E9B4A6B43}" type="parTrans" cxnId="{C358F2C5-3483-4654-AECA-5F1850163316}">
      <dgm:prSet/>
      <dgm:spPr/>
      <dgm:t>
        <a:bodyPr/>
        <a:lstStyle/>
        <a:p>
          <a:endParaRPr lang="en-GB"/>
        </a:p>
      </dgm:t>
    </dgm:pt>
    <dgm:pt modelId="{4B1992B5-0A89-43E6-A494-B52F3ED8D3B2}" type="sibTrans" cxnId="{C358F2C5-3483-4654-AECA-5F1850163316}">
      <dgm:prSet/>
      <dgm:spPr/>
      <dgm:t>
        <a:bodyPr/>
        <a:lstStyle/>
        <a:p>
          <a:endParaRPr lang="en-GB"/>
        </a:p>
      </dgm:t>
    </dgm:pt>
    <dgm:pt modelId="{691135FC-B769-4B85-A065-7D0368C74360}">
      <dgm:prSet/>
      <dgm:spPr/>
      <dgm:t>
        <a:bodyPr/>
        <a:lstStyle/>
        <a:p>
          <a:r>
            <a:rPr lang="en-GB"/>
            <a:t>Analytic</a:t>
          </a:r>
        </a:p>
      </dgm:t>
    </dgm:pt>
    <dgm:pt modelId="{03B0519A-7C78-451C-8F21-D3454DD0D434}" type="parTrans" cxnId="{F406F0A3-19F4-4550-A244-E75BAEEE7E83}">
      <dgm:prSet/>
      <dgm:spPr/>
      <dgm:t>
        <a:bodyPr/>
        <a:lstStyle/>
        <a:p>
          <a:endParaRPr lang="en-GB"/>
        </a:p>
      </dgm:t>
    </dgm:pt>
    <dgm:pt modelId="{6A2F239D-C1C1-45BC-B11A-0086CFAF3B1B}" type="sibTrans" cxnId="{F406F0A3-19F4-4550-A244-E75BAEEE7E83}">
      <dgm:prSet/>
      <dgm:spPr/>
      <dgm:t>
        <a:bodyPr/>
        <a:lstStyle/>
        <a:p>
          <a:endParaRPr lang="en-GB"/>
        </a:p>
      </dgm:t>
    </dgm:pt>
    <dgm:pt modelId="{D0AE22A3-F9B4-447E-8D62-39B1A253146A}">
      <dgm:prSet/>
      <dgm:spPr/>
      <dgm:t>
        <a:bodyPr/>
        <a:lstStyle/>
        <a:p>
          <a:r>
            <a:rPr lang="en-GB"/>
            <a:t>“Ecological Correlation”</a:t>
          </a:r>
        </a:p>
      </dgm:t>
    </dgm:pt>
    <dgm:pt modelId="{425AC221-BCC4-4888-9B08-F779FF385330}" type="parTrans" cxnId="{FE35C4F5-718D-40D6-A015-3831BFDAFD41}">
      <dgm:prSet/>
      <dgm:spPr/>
      <dgm:t>
        <a:bodyPr/>
        <a:lstStyle/>
        <a:p>
          <a:endParaRPr lang="en-GB"/>
        </a:p>
      </dgm:t>
    </dgm:pt>
    <dgm:pt modelId="{011BA1E4-621F-48DD-8494-99D4CD317558}" type="sibTrans" cxnId="{FE35C4F5-718D-40D6-A015-3831BFDAFD41}">
      <dgm:prSet/>
      <dgm:spPr/>
      <dgm:t>
        <a:bodyPr/>
        <a:lstStyle/>
        <a:p>
          <a:endParaRPr lang="en-GB"/>
        </a:p>
      </dgm:t>
    </dgm:pt>
    <dgm:pt modelId="{9914D1C4-06CB-4923-B3C7-5BBFEC3A60DF}">
      <dgm:prSet/>
      <dgm:spPr/>
      <dgm:t>
        <a:bodyPr/>
        <a:lstStyle/>
        <a:p>
          <a:r>
            <a:rPr lang="en-GB"/>
            <a:t>Individuals</a:t>
          </a:r>
        </a:p>
      </dgm:t>
    </dgm:pt>
    <dgm:pt modelId="{32FC84A4-F448-4485-9A19-DA55D0621B9B}" type="parTrans" cxnId="{736D32C7-E9EC-4C07-8E7B-C1D315BBC919}">
      <dgm:prSet/>
      <dgm:spPr/>
      <dgm:t>
        <a:bodyPr/>
        <a:lstStyle/>
        <a:p>
          <a:endParaRPr lang="en-GB"/>
        </a:p>
      </dgm:t>
    </dgm:pt>
    <dgm:pt modelId="{99025226-D6FC-455A-B1DA-EEF9AC990E66}" type="sibTrans" cxnId="{736D32C7-E9EC-4C07-8E7B-C1D315BBC919}">
      <dgm:prSet/>
      <dgm:spPr/>
      <dgm:t>
        <a:bodyPr/>
        <a:lstStyle/>
        <a:p>
          <a:endParaRPr lang="en-GB"/>
        </a:p>
      </dgm:t>
    </dgm:pt>
    <dgm:pt modelId="{62C4E8B2-FE71-47F9-BDD7-FFEA49D6801D}">
      <dgm:prSet/>
      <dgm:spPr/>
      <dgm:t>
        <a:bodyPr/>
        <a:lstStyle/>
        <a:p>
          <a:r>
            <a:rPr lang="en-GB"/>
            <a:t>Descriptive</a:t>
          </a:r>
        </a:p>
      </dgm:t>
    </dgm:pt>
    <dgm:pt modelId="{56892C77-4B04-44FA-8941-F2149D964450}" type="parTrans" cxnId="{EEEE2757-E691-4F05-9EFE-20C0B991BA81}">
      <dgm:prSet/>
      <dgm:spPr/>
      <dgm:t>
        <a:bodyPr/>
        <a:lstStyle/>
        <a:p>
          <a:endParaRPr lang="en-GB"/>
        </a:p>
      </dgm:t>
    </dgm:pt>
    <dgm:pt modelId="{F4B0FF34-706A-476B-8ACF-6D49FA919343}" type="sibTrans" cxnId="{EEEE2757-E691-4F05-9EFE-20C0B991BA81}">
      <dgm:prSet/>
      <dgm:spPr/>
      <dgm:t>
        <a:bodyPr/>
        <a:lstStyle/>
        <a:p>
          <a:endParaRPr lang="en-GB"/>
        </a:p>
      </dgm:t>
    </dgm:pt>
    <dgm:pt modelId="{878094ED-F2F3-4927-B361-DF51E32F499E}">
      <dgm:prSet/>
      <dgm:spPr/>
      <dgm:t>
        <a:bodyPr/>
        <a:lstStyle/>
        <a:p>
          <a:r>
            <a:rPr lang="en-GB"/>
            <a:t>Case Series</a:t>
          </a:r>
        </a:p>
      </dgm:t>
    </dgm:pt>
    <dgm:pt modelId="{2B86662F-4BFD-44B1-A409-7BAD1E44379C}" type="parTrans" cxnId="{81AD6434-D93C-4366-8CE1-BC5B933FF26E}">
      <dgm:prSet/>
      <dgm:spPr/>
      <dgm:t>
        <a:bodyPr/>
        <a:lstStyle/>
        <a:p>
          <a:endParaRPr lang="en-GB"/>
        </a:p>
      </dgm:t>
    </dgm:pt>
    <dgm:pt modelId="{E80AF871-F5E7-41AE-889F-4509688117FB}" type="sibTrans" cxnId="{81AD6434-D93C-4366-8CE1-BC5B933FF26E}">
      <dgm:prSet/>
      <dgm:spPr/>
      <dgm:t>
        <a:bodyPr/>
        <a:lstStyle/>
        <a:p>
          <a:endParaRPr lang="en-GB"/>
        </a:p>
      </dgm:t>
    </dgm:pt>
    <dgm:pt modelId="{4D228326-363E-41C0-B81D-383E5134F0DE}">
      <dgm:prSet/>
      <dgm:spPr/>
      <dgm:t>
        <a:bodyPr/>
        <a:lstStyle/>
        <a:p>
          <a:r>
            <a:rPr lang="en-GB"/>
            <a:t>Analytic</a:t>
          </a:r>
        </a:p>
      </dgm:t>
    </dgm:pt>
    <dgm:pt modelId="{2201737C-158A-4EAC-8CD5-C644FEB242D0}" type="parTrans" cxnId="{47750196-3F9D-4CE6-BA5A-C0584512D85A}">
      <dgm:prSet/>
      <dgm:spPr/>
      <dgm:t>
        <a:bodyPr/>
        <a:lstStyle/>
        <a:p>
          <a:endParaRPr lang="en-GB"/>
        </a:p>
      </dgm:t>
    </dgm:pt>
    <dgm:pt modelId="{98F201F2-88BF-4EBD-8CF4-875F2C97C2ED}" type="sibTrans" cxnId="{47750196-3F9D-4CE6-BA5A-C0584512D85A}">
      <dgm:prSet/>
      <dgm:spPr/>
      <dgm:t>
        <a:bodyPr/>
        <a:lstStyle/>
        <a:p>
          <a:endParaRPr lang="en-GB"/>
        </a:p>
      </dgm:t>
    </dgm:pt>
    <dgm:pt modelId="{8D1E835F-6962-4343-B18F-84354CD44DAC}">
      <dgm:prSet/>
      <dgm:spPr/>
      <dgm:t>
        <a:bodyPr/>
        <a:lstStyle/>
        <a:p>
          <a:r>
            <a:rPr lang="en-GB"/>
            <a:t>Cross-Sectional Study</a:t>
          </a:r>
        </a:p>
      </dgm:t>
    </dgm:pt>
    <dgm:pt modelId="{7CE93191-CC80-42A3-8794-1E766EBFCE3E}" type="parTrans" cxnId="{0FDEA10E-A8FE-4CE5-BA53-0B4E83F43318}">
      <dgm:prSet/>
      <dgm:spPr/>
      <dgm:t>
        <a:bodyPr/>
        <a:lstStyle/>
        <a:p>
          <a:endParaRPr lang="en-GB"/>
        </a:p>
      </dgm:t>
    </dgm:pt>
    <dgm:pt modelId="{72A53D68-75EF-469F-82A5-5C9D2BB5FD55}" type="sibTrans" cxnId="{0FDEA10E-A8FE-4CE5-BA53-0B4E83F43318}">
      <dgm:prSet/>
      <dgm:spPr/>
      <dgm:t>
        <a:bodyPr/>
        <a:lstStyle/>
        <a:p>
          <a:endParaRPr lang="en-GB"/>
        </a:p>
      </dgm:t>
    </dgm:pt>
    <dgm:pt modelId="{6DDDEBDB-8A1D-4FC2-9514-9B003C546460}">
      <dgm:prSet/>
      <dgm:spPr/>
      <dgm:t>
        <a:bodyPr/>
        <a:lstStyle/>
        <a:p>
          <a:r>
            <a:rPr lang="en-GB"/>
            <a:t>Cohort Study</a:t>
          </a:r>
        </a:p>
      </dgm:t>
    </dgm:pt>
    <dgm:pt modelId="{6B1C8002-D4F6-4AEC-BD2B-6C4CBABC95CD}" type="parTrans" cxnId="{CCFAA1AA-A118-4232-803C-4E186E91ABCB}">
      <dgm:prSet/>
      <dgm:spPr/>
      <dgm:t>
        <a:bodyPr/>
        <a:lstStyle/>
        <a:p>
          <a:endParaRPr lang="en-GB"/>
        </a:p>
      </dgm:t>
    </dgm:pt>
    <dgm:pt modelId="{3B847AB2-2394-4331-98D9-42F0EF1134D8}" type="sibTrans" cxnId="{CCFAA1AA-A118-4232-803C-4E186E91ABCB}">
      <dgm:prSet/>
      <dgm:spPr/>
      <dgm:t>
        <a:bodyPr/>
        <a:lstStyle/>
        <a:p>
          <a:endParaRPr lang="en-GB"/>
        </a:p>
      </dgm:t>
    </dgm:pt>
    <dgm:pt modelId="{68C25400-1CBF-45B6-B5DC-AAF7B4FC13F4}">
      <dgm:prSet/>
      <dgm:spPr/>
      <dgm:t>
        <a:bodyPr/>
        <a:lstStyle/>
        <a:p>
          <a:r>
            <a:rPr lang="en-GB"/>
            <a:t>Case-Control Study</a:t>
          </a:r>
        </a:p>
      </dgm:t>
    </dgm:pt>
    <dgm:pt modelId="{8B58D8B1-9528-4586-A687-2AE0C1165E2B}" type="parTrans" cxnId="{B1EE807A-E0BD-42BE-A185-616C548E30BD}">
      <dgm:prSet/>
      <dgm:spPr/>
      <dgm:t>
        <a:bodyPr/>
        <a:lstStyle/>
        <a:p>
          <a:endParaRPr lang="en-GB"/>
        </a:p>
      </dgm:t>
    </dgm:pt>
    <dgm:pt modelId="{6CA17981-7200-4937-B9FE-7CFCFD21DD8B}" type="sibTrans" cxnId="{B1EE807A-E0BD-42BE-A185-616C548E30BD}">
      <dgm:prSet/>
      <dgm:spPr/>
      <dgm:t>
        <a:bodyPr/>
        <a:lstStyle/>
        <a:p>
          <a:endParaRPr lang="en-GB"/>
        </a:p>
      </dgm:t>
    </dgm:pt>
    <dgm:pt modelId="{319405A1-01E8-449A-BB99-4BEBE9AA7E14}">
      <dgm:prSet/>
      <dgm:spPr/>
      <dgm:t>
        <a:bodyPr/>
        <a:lstStyle/>
        <a:p>
          <a:r>
            <a:rPr lang="en-GB"/>
            <a:t>RCT</a:t>
          </a:r>
        </a:p>
      </dgm:t>
    </dgm:pt>
    <dgm:pt modelId="{56AA341E-5072-47BE-B426-29E3308CB310}" type="parTrans" cxnId="{E7D298F0-53C5-4F92-A4AD-7134E4CBB267}">
      <dgm:prSet/>
      <dgm:spPr/>
      <dgm:t>
        <a:bodyPr/>
        <a:lstStyle/>
        <a:p>
          <a:endParaRPr lang="en-GB"/>
        </a:p>
      </dgm:t>
    </dgm:pt>
    <dgm:pt modelId="{BD3676C6-7425-46BC-99AA-FA20457E2BDC}" type="sibTrans" cxnId="{E7D298F0-53C5-4F92-A4AD-7134E4CBB267}">
      <dgm:prSet/>
      <dgm:spPr/>
      <dgm:t>
        <a:bodyPr/>
        <a:lstStyle/>
        <a:p>
          <a:endParaRPr lang="en-GB"/>
        </a:p>
      </dgm:t>
    </dgm:pt>
    <dgm:pt modelId="{4311DB01-9EDC-40F5-85FC-7BF1CDDE8709}">
      <dgm:prSet/>
      <dgm:spPr/>
      <dgm:t>
        <a:bodyPr/>
        <a:lstStyle/>
        <a:p>
          <a:r>
            <a:rPr lang="en-GB"/>
            <a:t>Quasi-Experimental</a:t>
          </a:r>
        </a:p>
      </dgm:t>
    </dgm:pt>
    <dgm:pt modelId="{35E80254-2517-4CC9-8377-65C5CF034999}" type="parTrans" cxnId="{636B1CD2-0B3D-4DF2-B7D2-4A0C4119A0E5}">
      <dgm:prSet/>
      <dgm:spPr/>
      <dgm:t>
        <a:bodyPr/>
        <a:lstStyle/>
        <a:p>
          <a:endParaRPr lang="en-GB"/>
        </a:p>
      </dgm:t>
    </dgm:pt>
    <dgm:pt modelId="{7EB68638-2AD3-4CA4-AF43-B79FA0A6EE15}" type="sibTrans" cxnId="{636B1CD2-0B3D-4DF2-B7D2-4A0C4119A0E5}">
      <dgm:prSet/>
      <dgm:spPr/>
      <dgm:t>
        <a:bodyPr/>
        <a:lstStyle/>
        <a:p>
          <a:endParaRPr lang="en-GB"/>
        </a:p>
      </dgm:t>
    </dgm:pt>
    <dgm:pt modelId="{63DB9BBF-E216-438E-88F6-87BF819C27D5}" type="pres">
      <dgm:prSet presAssocID="{DCA6F4EB-0654-44A9-9E29-06EE3FD8E1FD}" presName="hierChild1" presStyleCnt="0">
        <dgm:presLayoutVars>
          <dgm:orgChart val="1"/>
          <dgm:chPref val="1"/>
          <dgm:dir/>
          <dgm:animOne val="branch"/>
          <dgm:animLvl val="lvl"/>
          <dgm:resizeHandles/>
        </dgm:presLayoutVars>
      </dgm:prSet>
      <dgm:spPr/>
    </dgm:pt>
    <dgm:pt modelId="{D146FD43-781D-4434-B121-849723836229}" type="pres">
      <dgm:prSet presAssocID="{F489FD08-3998-497F-B293-5ED89BACCB4F}" presName="hierRoot1" presStyleCnt="0">
        <dgm:presLayoutVars>
          <dgm:hierBranch val="init"/>
        </dgm:presLayoutVars>
      </dgm:prSet>
      <dgm:spPr/>
    </dgm:pt>
    <dgm:pt modelId="{971AC81D-212F-4727-98FD-B7A572437F88}" type="pres">
      <dgm:prSet presAssocID="{F489FD08-3998-497F-B293-5ED89BACCB4F}" presName="rootComposite1" presStyleCnt="0"/>
      <dgm:spPr/>
    </dgm:pt>
    <dgm:pt modelId="{E3AF815C-864C-4A22-A6F1-62B1645BE7DA}" type="pres">
      <dgm:prSet presAssocID="{F489FD08-3998-497F-B293-5ED89BACCB4F}" presName="rootText1" presStyleLbl="node0" presStyleIdx="0" presStyleCnt="1">
        <dgm:presLayoutVars>
          <dgm:chPref val="3"/>
        </dgm:presLayoutVars>
      </dgm:prSet>
      <dgm:spPr/>
    </dgm:pt>
    <dgm:pt modelId="{A39066D3-905A-4F63-B29C-844886D29436}" type="pres">
      <dgm:prSet presAssocID="{F489FD08-3998-497F-B293-5ED89BACCB4F}" presName="rootConnector1" presStyleLbl="node1" presStyleIdx="0" presStyleCnt="0"/>
      <dgm:spPr/>
    </dgm:pt>
    <dgm:pt modelId="{EEC9B078-3594-4669-9F32-CDCD1B13D7B2}" type="pres">
      <dgm:prSet presAssocID="{F489FD08-3998-497F-B293-5ED89BACCB4F}" presName="hierChild2" presStyleCnt="0"/>
      <dgm:spPr/>
    </dgm:pt>
    <dgm:pt modelId="{36C3FA1A-D068-4D48-9E57-5D0F4D2C9B7F}" type="pres">
      <dgm:prSet presAssocID="{F1CB03DB-1CCD-4019-A371-4D9116F0E1D5}" presName="Name64" presStyleLbl="parChTrans1D2" presStyleIdx="0" presStyleCnt="2"/>
      <dgm:spPr/>
    </dgm:pt>
    <dgm:pt modelId="{E7A1A28F-97F3-4351-B7C6-A458E7093559}" type="pres">
      <dgm:prSet presAssocID="{F5096718-A2A0-423B-93E7-69DE2CA43E3E}" presName="hierRoot2" presStyleCnt="0">
        <dgm:presLayoutVars>
          <dgm:hierBranch val="init"/>
        </dgm:presLayoutVars>
      </dgm:prSet>
      <dgm:spPr/>
    </dgm:pt>
    <dgm:pt modelId="{62FFDECF-C381-496D-9AB5-1CCF724CB86D}" type="pres">
      <dgm:prSet presAssocID="{F5096718-A2A0-423B-93E7-69DE2CA43E3E}" presName="rootComposite" presStyleCnt="0"/>
      <dgm:spPr/>
    </dgm:pt>
    <dgm:pt modelId="{53FB2169-FF96-404F-B9A3-C23B51E77286}" type="pres">
      <dgm:prSet presAssocID="{F5096718-A2A0-423B-93E7-69DE2CA43E3E}" presName="rootText" presStyleLbl="node2" presStyleIdx="0" presStyleCnt="2">
        <dgm:presLayoutVars>
          <dgm:chPref val="3"/>
        </dgm:presLayoutVars>
      </dgm:prSet>
      <dgm:spPr/>
    </dgm:pt>
    <dgm:pt modelId="{4622D973-87BD-4078-BF99-E3C4FB14ECD0}" type="pres">
      <dgm:prSet presAssocID="{F5096718-A2A0-423B-93E7-69DE2CA43E3E}" presName="rootConnector" presStyleLbl="node2" presStyleIdx="0" presStyleCnt="2"/>
      <dgm:spPr/>
    </dgm:pt>
    <dgm:pt modelId="{7E6B4187-E81B-407E-9922-B95F5BF0463F}" type="pres">
      <dgm:prSet presAssocID="{F5096718-A2A0-423B-93E7-69DE2CA43E3E}" presName="hierChild4" presStyleCnt="0"/>
      <dgm:spPr/>
    </dgm:pt>
    <dgm:pt modelId="{DCB65B85-7D7D-48EE-BC91-2D984FB7C14D}" type="pres">
      <dgm:prSet presAssocID="{56AA341E-5072-47BE-B426-29E3308CB310}" presName="Name64" presStyleLbl="parChTrans1D3" presStyleIdx="0" presStyleCnt="4"/>
      <dgm:spPr/>
    </dgm:pt>
    <dgm:pt modelId="{9E7FAB27-10FA-454C-9DEE-E8BE0502495E}" type="pres">
      <dgm:prSet presAssocID="{319405A1-01E8-449A-BB99-4BEBE9AA7E14}" presName="hierRoot2" presStyleCnt="0">
        <dgm:presLayoutVars>
          <dgm:hierBranch val="init"/>
        </dgm:presLayoutVars>
      </dgm:prSet>
      <dgm:spPr/>
    </dgm:pt>
    <dgm:pt modelId="{C7E7D00B-3D32-43DE-9998-802A1F75A936}" type="pres">
      <dgm:prSet presAssocID="{319405A1-01E8-449A-BB99-4BEBE9AA7E14}" presName="rootComposite" presStyleCnt="0"/>
      <dgm:spPr/>
    </dgm:pt>
    <dgm:pt modelId="{FF77C31D-A7AE-4A80-B3B9-2FFA432833C4}" type="pres">
      <dgm:prSet presAssocID="{319405A1-01E8-449A-BB99-4BEBE9AA7E14}" presName="rootText" presStyleLbl="node3" presStyleIdx="0" presStyleCnt="4">
        <dgm:presLayoutVars>
          <dgm:chPref val="3"/>
        </dgm:presLayoutVars>
      </dgm:prSet>
      <dgm:spPr/>
    </dgm:pt>
    <dgm:pt modelId="{7C5DE166-B389-4836-BBA8-C55D07B2B59B}" type="pres">
      <dgm:prSet presAssocID="{319405A1-01E8-449A-BB99-4BEBE9AA7E14}" presName="rootConnector" presStyleLbl="node3" presStyleIdx="0" presStyleCnt="4"/>
      <dgm:spPr/>
    </dgm:pt>
    <dgm:pt modelId="{9E5A05FF-A2C7-4A33-9EB4-918C6384DC91}" type="pres">
      <dgm:prSet presAssocID="{319405A1-01E8-449A-BB99-4BEBE9AA7E14}" presName="hierChild4" presStyleCnt="0"/>
      <dgm:spPr/>
    </dgm:pt>
    <dgm:pt modelId="{7AB69EF1-906E-4C30-AF61-E73194367576}" type="pres">
      <dgm:prSet presAssocID="{319405A1-01E8-449A-BB99-4BEBE9AA7E14}" presName="hierChild5" presStyleCnt="0"/>
      <dgm:spPr/>
    </dgm:pt>
    <dgm:pt modelId="{83E4C909-1527-46C6-8C76-CF3F05086213}" type="pres">
      <dgm:prSet presAssocID="{35E80254-2517-4CC9-8377-65C5CF034999}" presName="Name64" presStyleLbl="parChTrans1D3" presStyleIdx="1" presStyleCnt="4"/>
      <dgm:spPr/>
    </dgm:pt>
    <dgm:pt modelId="{7B3A3C19-F9FC-4C0F-AD2F-26CE3BD48037}" type="pres">
      <dgm:prSet presAssocID="{4311DB01-9EDC-40F5-85FC-7BF1CDDE8709}" presName="hierRoot2" presStyleCnt="0">
        <dgm:presLayoutVars>
          <dgm:hierBranch val="init"/>
        </dgm:presLayoutVars>
      </dgm:prSet>
      <dgm:spPr/>
    </dgm:pt>
    <dgm:pt modelId="{EB0AD073-2ED4-4A8E-8A7A-6C5B728BA7A6}" type="pres">
      <dgm:prSet presAssocID="{4311DB01-9EDC-40F5-85FC-7BF1CDDE8709}" presName="rootComposite" presStyleCnt="0"/>
      <dgm:spPr/>
    </dgm:pt>
    <dgm:pt modelId="{540AE5FB-9B8B-47A0-BEE7-9E14BA9F1735}" type="pres">
      <dgm:prSet presAssocID="{4311DB01-9EDC-40F5-85FC-7BF1CDDE8709}" presName="rootText" presStyleLbl="node3" presStyleIdx="1" presStyleCnt="4">
        <dgm:presLayoutVars>
          <dgm:chPref val="3"/>
        </dgm:presLayoutVars>
      </dgm:prSet>
      <dgm:spPr/>
    </dgm:pt>
    <dgm:pt modelId="{5CB206E1-EE74-402D-9BA4-3582D697763F}" type="pres">
      <dgm:prSet presAssocID="{4311DB01-9EDC-40F5-85FC-7BF1CDDE8709}" presName="rootConnector" presStyleLbl="node3" presStyleIdx="1" presStyleCnt="4"/>
      <dgm:spPr/>
    </dgm:pt>
    <dgm:pt modelId="{B390CA68-7888-47B6-A710-166DA350860C}" type="pres">
      <dgm:prSet presAssocID="{4311DB01-9EDC-40F5-85FC-7BF1CDDE8709}" presName="hierChild4" presStyleCnt="0"/>
      <dgm:spPr/>
    </dgm:pt>
    <dgm:pt modelId="{FCA00757-02BA-45C4-B43D-DB9DB47E8CF8}" type="pres">
      <dgm:prSet presAssocID="{4311DB01-9EDC-40F5-85FC-7BF1CDDE8709}" presName="hierChild5" presStyleCnt="0"/>
      <dgm:spPr/>
    </dgm:pt>
    <dgm:pt modelId="{35988815-1FCA-4A73-8718-49583C530246}" type="pres">
      <dgm:prSet presAssocID="{F5096718-A2A0-423B-93E7-69DE2CA43E3E}" presName="hierChild5" presStyleCnt="0"/>
      <dgm:spPr/>
    </dgm:pt>
    <dgm:pt modelId="{0248AFDA-9817-4C23-8C93-7AD0E9E89313}" type="pres">
      <dgm:prSet presAssocID="{CE6D8B1E-EA59-4B2A-BBE9-90880E14C6A2}" presName="Name64" presStyleLbl="parChTrans1D2" presStyleIdx="1" presStyleCnt="2"/>
      <dgm:spPr/>
    </dgm:pt>
    <dgm:pt modelId="{2C5F2FAE-D26E-43EE-B2BC-D77B85C23F50}" type="pres">
      <dgm:prSet presAssocID="{8BB24B2E-BB27-4EBA-8531-6D10B8C5AAD6}" presName="hierRoot2" presStyleCnt="0">
        <dgm:presLayoutVars>
          <dgm:hierBranch val="init"/>
        </dgm:presLayoutVars>
      </dgm:prSet>
      <dgm:spPr/>
    </dgm:pt>
    <dgm:pt modelId="{0CA4B448-332F-48DA-AE58-F85BCA356525}" type="pres">
      <dgm:prSet presAssocID="{8BB24B2E-BB27-4EBA-8531-6D10B8C5AAD6}" presName="rootComposite" presStyleCnt="0"/>
      <dgm:spPr/>
    </dgm:pt>
    <dgm:pt modelId="{F3B9E683-4A65-46B0-A821-919ACB754FBF}" type="pres">
      <dgm:prSet presAssocID="{8BB24B2E-BB27-4EBA-8531-6D10B8C5AAD6}" presName="rootText" presStyleLbl="node2" presStyleIdx="1" presStyleCnt="2">
        <dgm:presLayoutVars>
          <dgm:chPref val="3"/>
        </dgm:presLayoutVars>
      </dgm:prSet>
      <dgm:spPr/>
    </dgm:pt>
    <dgm:pt modelId="{D74FBBCC-3753-46A5-B1F8-0E0F76299A8D}" type="pres">
      <dgm:prSet presAssocID="{8BB24B2E-BB27-4EBA-8531-6D10B8C5AAD6}" presName="rootConnector" presStyleLbl="node2" presStyleIdx="1" presStyleCnt="2"/>
      <dgm:spPr/>
    </dgm:pt>
    <dgm:pt modelId="{448EC5B2-3786-4655-B4A9-6C1035B74235}" type="pres">
      <dgm:prSet presAssocID="{8BB24B2E-BB27-4EBA-8531-6D10B8C5AAD6}" presName="hierChild4" presStyleCnt="0"/>
      <dgm:spPr/>
    </dgm:pt>
    <dgm:pt modelId="{B0BFD6CA-BB84-4806-BB28-DEADA88BF2D7}" type="pres">
      <dgm:prSet presAssocID="{2FB6F6D0-BAAC-40C0-A521-11EE453038E2}" presName="Name64" presStyleLbl="parChTrans1D3" presStyleIdx="2" presStyleCnt="4"/>
      <dgm:spPr/>
    </dgm:pt>
    <dgm:pt modelId="{45AD8BC4-7B33-47FF-8F0C-7260C945F049}" type="pres">
      <dgm:prSet presAssocID="{806A7CBA-208D-49E1-9E93-F9DB39B7349A}" presName="hierRoot2" presStyleCnt="0">
        <dgm:presLayoutVars>
          <dgm:hierBranch val="init"/>
        </dgm:presLayoutVars>
      </dgm:prSet>
      <dgm:spPr/>
    </dgm:pt>
    <dgm:pt modelId="{5BEA41AF-62C1-4F23-9D55-AA5EA6D6B6D6}" type="pres">
      <dgm:prSet presAssocID="{806A7CBA-208D-49E1-9E93-F9DB39B7349A}" presName="rootComposite" presStyleCnt="0"/>
      <dgm:spPr/>
    </dgm:pt>
    <dgm:pt modelId="{236C6726-A06A-420B-91DE-BB9120DD52F9}" type="pres">
      <dgm:prSet presAssocID="{806A7CBA-208D-49E1-9E93-F9DB39B7349A}" presName="rootText" presStyleLbl="node3" presStyleIdx="2" presStyleCnt="4">
        <dgm:presLayoutVars>
          <dgm:chPref val="3"/>
        </dgm:presLayoutVars>
      </dgm:prSet>
      <dgm:spPr/>
    </dgm:pt>
    <dgm:pt modelId="{8B346704-73A1-4285-8EF0-EEB0576E9F3A}" type="pres">
      <dgm:prSet presAssocID="{806A7CBA-208D-49E1-9E93-F9DB39B7349A}" presName="rootConnector" presStyleLbl="node3" presStyleIdx="2" presStyleCnt="4"/>
      <dgm:spPr/>
    </dgm:pt>
    <dgm:pt modelId="{C34C860A-45F4-4F8E-966D-AD97B6E22BB4}" type="pres">
      <dgm:prSet presAssocID="{806A7CBA-208D-49E1-9E93-F9DB39B7349A}" presName="hierChild4" presStyleCnt="0"/>
      <dgm:spPr/>
    </dgm:pt>
    <dgm:pt modelId="{E644ABB4-0F21-40E7-A23C-9EAE3917BDCB}" type="pres">
      <dgm:prSet presAssocID="{1F25DA71-98B7-47DF-87DA-B05E9B4A6B43}" presName="Name64" presStyleLbl="parChTrans1D4" presStyleIdx="0" presStyleCnt="9"/>
      <dgm:spPr/>
    </dgm:pt>
    <dgm:pt modelId="{60CCE0A5-A580-4F30-A128-D8603BB03EFC}" type="pres">
      <dgm:prSet presAssocID="{41AD1455-E4BC-4DDD-802B-D72127374C66}" presName="hierRoot2" presStyleCnt="0">
        <dgm:presLayoutVars>
          <dgm:hierBranch val="init"/>
        </dgm:presLayoutVars>
      </dgm:prSet>
      <dgm:spPr/>
    </dgm:pt>
    <dgm:pt modelId="{53C17F4D-C85D-4208-B159-48C5696809A6}" type="pres">
      <dgm:prSet presAssocID="{41AD1455-E4BC-4DDD-802B-D72127374C66}" presName="rootComposite" presStyleCnt="0"/>
      <dgm:spPr/>
    </dgm:pt>
    <dgm:pt modelId="{6E552716-DA64-4F53-84E4-34DEE2BD128F}" type="pres">
      <dgm:prSet presAssocID="{41AD1455-E4BC-4DDD-802B-D72127374C66}" presName="rootText" presStyleLbl="node4" presStyleIdx="0" presStyleCnt="9">
        <dgm:presLayoutVars>
          <dgm:chPref val="3"/>
        </dgm:presLayoutVars>
      </dgm:prSet>
      <dgm:spPr/>
    </dgm:pt>
    <dgm:pt modelId="{F5650507-25E2-450F-8C91-4F77BA33834F}" type="pres">
      <dgm:prSet presAssocID="{41AD1455-E4BC-4DDD-802B-D72127374C66}" presName="rootConnector" presStyleLbl="node4" presStyleIdx="0" presStyleCnt="9"/>
      <dgm:spPr/>
    </dgm:pt>
    <dgm:pt modelId="{0B425C1D-1759-4071-9263-038E17F268DB}" type="pres">
      <dgm:prSet presAssocID="{41AD1455-E4BC-4DDD-802B-D72127374C66}" presName="hierChild4" presStyleCnt="0"/>
      <dgm:spPr/>
    </dgm:pt>
    <dgm:pt modelId="{22D7FB15-DBC8-4495-9FF0-900536179EBE}" type="pres">
      <dgm:prSet presAssocID="{41AD1455-E4BC-4DDD-802B-D72127374C66}" presName="hierChild5" presStyleCnt="0"/>
      <dgm:spPr/>
    </dgm:pt>
    <dgm:pt modelId="{6DF16A9D-4644-4788-8CDA-8916090F3243}" type="pres">
      <dgm:prSet presAssocID="{03B0519A-7C78-451C-8F21-D3454DD0D434}" presName="Name64" presStyleLbl="parChTrans1D4" presStyleIdx="1" presStyleCnt="9"/>
      <dgm:spPr/>
    </dgm:pt>
    <dgm:pt modelId="{12D6B9E9-5389-447C-92C5-934A0A396A28}" type="pres">
      <dgm:prSet presAssocID="{691135FC-B769-4B85-A065-7D0368C74360}" presName="hierRoot2" presStyleCnt="0">
        <dgm:presLayoutVars>
          <dgm:hierBranch val="init"/>
        </dgm:presLayoutVars>
      </dgm:prSet>
      <dgm:spPr/>
    </dgm:pt>
    <dgm:pt modelId="{C7318B4D-2FA2-483A-805F-87A9A75D4E6E}" type="pres">
      <dgm:prSet presAssocID="{691135FC-B769-4B85-A065-7D0368C74360}" presName="rootComposite" presStyleCnt="0"/>
      <dgm:spPr/>
    </dgm:pt>
    <dgm:pt modelId="{803E2EA7-58C4-4B66-BC3A-F0C307617805}" type="pres">
      <dgm:prSet presAssocID="{691135FC-B769-4B85-A065-7D0368C74360}" presName="rootText" presStyleLbl="node4" presStyleIdx="1" presStyleCnt="9">
        <dgm:presLayoutVars>
          <dgm:chPref val="3"/>
        </dgm:presLayoutVars>
      </dgm:prSet>
      <dgm:spPr/>
    </dgm:pt>
    <dgm:pt modelId="{96FA4DA4-BF96-4A2E-BE43-E9AAD2D9CB42}" type="pres">
      <dgm:prSet presAssocID="{691135FC-B769-4B85-A065-7D0368C74360}" presName="rootConnector" presStyleLbl="node4" presStyleIdx="1" presStyleCnt="9"/>
      <dgm:spPr/>
    </dgm:pt>
    <dgm:pt modelId="{95104BFD-DD04-476B-912D-383BC085B60F}" type="pres">
      <dgm:prSet presAssocID="{691135FC-B769-4B85-A065-7D0368C74360}" presName="hierChild4" presStyleCnt="0"/>
      <dgm:spPr/>
    </dgm:pt>
    <dgm:pt modelId="{A5FFED6E-1BA9-4325-9830-1FF35D091980}" type="pres">
      <dgm:prSet presAssocID="{425AC221-BCC4-4888-9B08-F779FF385330}" presName="Name64" presStyleLbl="parChTrans1D4" presStyleIdx="2" presStyleCnt="9"/>
      <dgm:spPr/>
    </dgm:pt>
    <dgm:pt modelId="{301DD16F-A683-4AB0-BCC8-634635D1549C}" type="pres">
      <dgm:prSet presAssocID="{D0AE22A3-F9B4-447E-8D62-39B1A253146A}" presName="hierRoot2" presStyleCnt="0">
        <dgm:presLayoutVars>
          <dgm:hierBranch val="init"/>
        </dgm:presLayoutVars>
      </dgm:prSet>
      <dgm:spPr/>
    </dgm:pt>
    <dgm:pt modelId="{6F679C39-86F1-40D3-BCFB-686F5C674709}" type="pres">
      <dgm:prSet presAssocID="{D0AE22A3-F9B4-447E-8D62-39B1A253146A}" presName="rootComposite" presStyleCnt="0"/>
      <dgm:spPr/>
    </dgm:pt>
    <dgm:pt modelId="{0D1C22C2-9408-492D-B4F2-85AA7EEAFF71}" type="pres">
      <dgm:prSet presAssocID="{D0AE22A3-F9B4-447E-8D62-39B1A253146A}" presName="rootText" presStyleLbl="node4" presStyleIdx="2" presStyleCnt="9">
        <dgm:presLayoutVars>
          <dgm:chPref val="3"/>
        </dgm:presLayoutVars>
      </dgm:prSet>
      <dgm:spPr/>
    </dgm:pt>
    <dgm:pt modelId="{F840674A-1B01-4B38-A225-B5B7B88BCACA}" type="pres">
      <dgm:prSet presAssocID="{D0AE22A3-F9B4-447E-8D62-39B1A253146A}" presName="rootConnector" presStyleLbl="node4" presStyleIdx="2" presStyleCnt="9"/>
      <dgm:spPr/>
    </dgm:pt>
    <dgm:pt modelId="{9E326442-8B07-499E-B008-2ABBC7CA7AF1}" type="pres">
      <dgm:prSet presAssocID="{D0AE22A3-F9B4-447E-8D62-39B1A253146A}" presName="hierChild4" presStyleCnt="0"/>
      <dgm:spPr/>
    </dgm:pt>
    <dgm:pt modelId="{469AE7F7-4798-4B8D-A193-8716A039E085}" type="pres">
      <dgm:prSet presAssocID="{D0AE22A3-F9B4-447E-8D62-39B1A253146A}" presName="hierChild5" presStyleCnt="0"/>
      <dgm:spPr/>
    </dgm:pt>
    <dgm:pt modelId="{CE84BCF7-0913-48B2-B8E2-626AB2D1E6FD}" type="pres">
      <dgm:prSet presAssocID="{691135FC-B769-4B85-A065-7D0368C74360}" presName="hierChild5" presStyleCnt="0"/>
      <dgm:spPr/>
    </dgm:pt>
    <dgm:pt modelId="{5FB9E786-445D-45EA-804A-50B78FC5D9AF}" type="pres">
      <dgm:prSet presAssocID="{806A7CBA-208D-49E1-9E93-F9DB39B7349A}" presName="hierChild5" presStyleCnt="0"/>
      <dgm:spPr/>
    </dgm:pt>
    <dgm:pt modelId="{03EB454A-A3D9-42BF-A423-9DABFA9AF65B}" type="pres">
      <dgm:prSet presAssocID="{32FC84A4-F448-4485-9A19-DA55D0621B9B}" presName="Name64" presStyleLbl="parChTrans1D3" presStyleIdx="3" presStyleCnt="4"/>
      <dgm:spPr/>
    </dgm:pt>
    <dgm:pt modelId="{2758A114-97CD-4934-9E5D-FA951793179B}" type="pres">
      <dgm:prSet presAssocID="{9914D1C4-06CB-4923-B3C7-5BBFEC3A60DF}" presName="hierRoot2" presStyleCnt="0">
        <dgm:presLayoutVars>
          <dgm:hierBranch val="init"/>
        </dgm:presLayoutVars>
      </dgm:prSet>
      <dgm:spPr/>
    </dgm:pt>
    <dgm:pt modelId="{1F871F66-D3E6-483A-810E-20DAF3CC941C}" type="pres">
      <dgm:prSet presAssocID="{9914D1C4-06CB-4923-B3C7-5BBFEC3A60DF}" presName="rootComposite" presStyleCnt="0"/>
      <dgm:spPr/>
    </dgm:pt>
    <dgm:pt modelId="{F27171DA-0016-416D-B196-155DE9F0E689}" type="pres">
      <dgm:prSet presAssocID="{9914D1C4-06CB-4923-B3C7-5BBFEC3A60DF}" presName="rootText" presStyleLbl="node3" presStyleIdx="3" presStyleCnt="4">
        <dgm:presLayoutVars>
          <dgm:chPref val="3"/>
        </dgm:presLayoutVars>
      </dgm:prSet>
      <dgm:spPr/>
    </dgm:pt>
    <dgm:pt modelId="{B559FE7E-E77D-4D11-BCCE-838CD01D0B5E}" type="pres">
      <dgm:prSet presAssocID="{9914D1C4-06CB-4923-B3C7-5BBFEC3A60DF}" presName="rootConnector" presStyleLbl="node3" presStyleIdx="3" presStyleCnt="4"/>
      <dgm:spPr/>
    </dgm:pt>
    <dgm:pt modelId="{6984C84E-18C9-4D70-A3B6-1B5D304360E6}" type="pres">
      <dgm:prSet presAssocID="{9914D1C4-06CB-4923-B3C7-5BBFEC3A60DF}" presName="hierChild4" presStyleCnt="0"/>
      <dgm:spPr/>
    </dgm:pt>
    <dgm:pt modelId="{652363DA-934D-4465-B522-960A09890B90}" type="pres">
      <dgm:prSet presAssocID="{56892C77-4B04-44FA-8941-F2149D964450}" presName="Name64" presStyleLbl="parChTrans1D4" presStyleIdx="3" presStyleCnt="9"/>
      <dgm:spPr/>
    </dgm:pt>
    <dgm:pt modelId="{7E807F06-DBB1-4F1D-B3B2-92695905651A}" type="pres">
      <dgm:prSet presAssocID="{62C4E8B2-FE71-47F9-BDD7-FFEA49D6801D}" presName="hierRoot2" presStyleCnt="0">
        <dgm:presLayoutVars>
          <dgm:hierBranch val="init"/>
        </dgm:presLayoutVars>
      </dgm:prSet>
      <dgm:spPr/>
    </dgm:pt>
    <dgm:pt modelId="{F7E14EFA-CF6D-44FA-9B42-1D5E85D70C6B}" type="pres">
      <dgm:prSet presAssocID="{62C4E8B2-FE71-47F9-BDD7-FFEA49D6801D}" presName="rootComposite" presStyleCnt="0"/>
      <dgm:spPr/>
    </dgm:pt>
    <dgm:pt modelId="{C20F4905-6D86-4B54-BD7A-069E5A8230EE}" type="pres">
      <dgm:prSet presAssocID="{62C4E8B2-FE71-47F9-BDD7-FFEA49D6801D}" presName="rootText" presStyleLbl="node4" presStyleIdx="3" presStyleCnt="9">
        <dgm:presLayoutVars>
          <dgm:chPref val="3"/>
        </dgm:presLayoutVars>
      </dgm:prSet>
      <dgm:spPr/>
    </dgm:pt>
    <dgm:pt modelId="{2491DB3E-938E-440D-AB16-DAD9E4C4E782}" type="pres">
      <dgm:prSet presAssocID="{62C4E8B2-FE71-47F9-BDD7-FFEA49D6801D}" presName="rootConnector" presStyleLbl="node4" presStyleIdx="3" presStyleCnt="9"/>
      <dgm:spPr/>
    </dgm:pt>
    <dgm:pt modelId="{57F27900-BB8A-47D9-A578-AB9ADE4874C8}" type="pres">
      <dgm:prSet presAssocID="{62C4E8B2-FE71-47F9-BDD7-FFEA49D6801D}" presName="hierChild4" presStyleCnt="0"/>
      <dgm:spPr/>
    </dgm:pt>
    <dgm:pt modelId="{C8E084AD-E82C-480F-849F-657BB88321E3}" type="pres">
      <dgm:prSet presAssocID="{2B86662F-4BFD-44B1-A409-7BAD1E44379C}" presName="Name64" presStyleLbl="parChTrans1D4" presStyleIdx="4" presStyleCnt="9"/>
      <dgm:spPr/>
    </dgm:pt>
    <dgm:pt modelId="{52A4EB55-CC21-4590-80DC-71C733B4ADC1}" type="pres">
      <dgm:prSet presAssocID="{878094ED-F2F3-4927-B361-DF51E32F499E}" presName="hierRoot2" presStyleCnt="0">
        <dgm:presLayoutVars>
          <dgm:hierBranch val="init"/>
        </dgm:presLayoutVars>
      </dgm:prSet>
      <dgm:spPr/>
    </dgm:pt>
    <dgm:pt modelId="{DF51BB39-75C6-437F-B8D9-194A52F43E15}" type="pres">
      <dgm:prSet presAssocID="{878094ED-F2F3-4927-B361-DF51E32F499E}" presName="rootComposite" presStyleCnt="0"/>
      <dgm:spPr/>
    </dgm:pt>
    <dgm:pt modelId="{9639F9C5-5C48-4E1B-AF21-476B30582A69}" type="pres">
      <dgm:prSet presAssocID="{878094ED-F2F3-4927-B361-DF51E32F499E}" presName="rootText" presStyleLbl="node4" presStyleIdx="4" presStyleCnt="9">
        <dgm:presLayoutVars>
          <dgm:chPref val="3"/>
        </dgm:presLayoutVars>
      </dgm:prSet>
      <dgm:spPr/>
    </dgm:pt>
    <dgm:pt modelId="{C89CE454-AD3C-41DF-99F1-DF27C5A7BCFB}" type="pres">
      <dgm:prSet presAssocID="{878094ED-F2F3-4927-B361-DF51E32F499E}" presName="rootConnector" presStyleLbl="node4" presStyleIdx="4" presStyleCnt="9"/>
      <dgm:spPr/>
    </dgm:pt>
    <dgm:pt modelId="{EA727D3C-A6C3-4531-929C-7F7110E5465F}" type="pres">
      <dgm:prSet presAssocID="{878094ED-F2F3-4927-B361-DF51E32F499E}" presName="hierChild4" presStyleCnt="0"/>
      <dgm:spPr/>
    </dgm:pt>
    <dgm:pt modelId="{09BF901B-C038-4FD8-AE0A-3CE0CD852BD6}" type="pres">
      <dgm:prSet presAssocID="{878094ED-F2F3-4927-B361-DF51E32F499E}" presName="hierChild5" presStyleCnt="0"/>
      <dgm:spPr/>
    </dgm:pt>
    <dgm:pt modelId="{CCC71FCF-BA8D-4AC3-B79C-4A1DA2743CF7}" type="pres">
      <dgm:prSet presAssocID="{62C4E8B2-FE71-47F9-BDD7-FFEA49D6801D}" presName="hierChild5" presStyleCnt="0"/>
      <dgm:spPr/>
    </dgm:pt>
    <dgm:pt modelId="{A686DC09-A8A1-4D02-AD60-EDAA77E01BC0}" type="pres">
      <dgm:prSet presAssocID="{2201737C-158A-4EAC-8CD5-C644FEB242D0}" presName="Name64" presStyleLbl="parChTrans1D4" presStyleIdx="5" presStyleCnt="9"/>
      <dgm:spPr/>
    </dgm:pt>
    <dgm:pt modelId="{B311FC85-5FF0-449D-B9F5-9514084A4ADB}" type="pres">
      <dgm:prSet presAssocID="{4D228326-363E-41C0-B81D-383E5134F0DE}" presName="hierRoot2" presStyleCnt="0">
        <dgm:presLayoutVars>
          <dgm:hierBranch val="init"/>
        </dgm:presLayoutVars>
      </dgm:prSet>
      <dgm:spPr/>
    </dgm:pt>
    <dgm:pt modelId="{D1D54D7F-81F3-4DE5-B3D3-90554AE091B1}" type="pres">
      <dgm:prSet presAssocID="{4D228326-363E-41C0-B81D-383E5134F0DE}" presName="rootComposite" presStyleCnt="0"/>
      <dgm:spPr/>
    </dgm:pt>
    <dgm:pt modelId="{68856973-52E2-4E06-8B58-B7856884F8CB}" type="pres">
      <dgm:prSet presAssocID="{4D228326-363E-41C0-B81D-383E5134F0DE}" presName="rootText" presStyleLbl="node4" presStyleIdx="5" presStyleCnt="9">
        <dgm:presLayoutVars>
          <dgm:chPref val="3"/>
        </dgm:presLayoutVars>
      </dgm:prSet>
      <dgm:spPr/>
    </dgm:pt>
    <dgm:pt modelId="{22EB5AE9-F474-4DF5-B8E7-E37B6DE8354A}" type="pres">
      <dgm:prSet presAssocID="{4D228326-363E-41C0-B81D-383E5134F0DE}" presName="rootConnector" presStyleLbl="node4" presStyleIdx="5" presStyleCnt="9"/>
      <dgm:spPr/>
    </dgm:pt>
    <dgm:pt modelId="{9A10BBFA-343C-4D7E-9B2D-340BCE28F31B}" type="pres">
      <dgm:prSet presAssocID="{4D228326-363E-41C0-B81D-383E5134F0DE}" presName="hierChild4" presStyleCnt="0"/>
      <dgm:spPr/>
    </dgm:pt>
    <dgm:pt modelId="{64E33528-0E25-462C-8583-7EBD74CA3350}" type="pres">
      <dgm:prSet presAssocID="{7CE93191-CC80-42A3-8794-1E766EBFCE3E}" presName="Name64" presStyleLbl="parChTrans1D4" presStyleIdx="6" presStyleCnt="9"/>
      <dgm:spPr/>
    </dgm:pt>
    <dgm:pt modelId="{1C69A86E-8465-4038-B207-643E17CB9303}" type="pres">
      <dgm:prSet presAssocID="{8D1E835F-6962-4343-B18F-84354CD44DAC}" presName="hierRoot2" presStyleCnt="0">
        <dgm:presLayoutVars>
          <dgm:hierBranch val="init"/>
        </dgm:presLayoutVars>
      </dgm:prSet>
      <dgm:spPr/>
    </dgm:pt>
    <dgm:pt modelId="{ECB6C769-9060-487C-928F-BEEF93E76583}" type="pres">
      <dgm:prSet presAssocID="{8D1E835F-6962-4343-B18F-84354CD44DAC}" presName="rootComposite" presStyleCnt="0"/>
      <dgm:spPr/>
    </dgm:pt>
    <dgm:pt modelId="{054D3446-5677-47F2-97E4-8B406B1341AC}" type="pres">
      <dgm:prSet presAssocID="{8D1E835F-6962-4343-B18F-84354CD44DAC}" presName="rootText" presStyleLbl="node4" presStyleIdx="6" presStyleCnt="9">
        <dgm:presLayoutVars>
          <dgm:chPref val="3"/>
        </dgm:presLayoutVars>
      </dgm:prSet>
      <dgm:spPr/>
    </dgm:pt>
    <dgm:pt modelId="{AE6AA182-5BA5-48A1-A52B-552243D0DA0C}" type="pres">
      <dgm:prSet presAssocID="{8D1E835F-6962-4343-B18F-84354CD44DAC}" presName="rootConnector" presStyleLbl="node4" presStyleIdx="6" presStyleCnt="9"/>
      <dgm:spPr/>
    </dgm:pt>
    <dgm:pt modelId="{37AFA4A6-4B43-4D25-869F-E5EDB16E1932}" type="pres">
      <dgm:prSet presAssocID="{8D1E835F-6962-4343-B18F-84354CD44DAC}" presName="hierChild4" presStyleCnt="0"/>
      <dgm:spPr/>
    </dgm:pt>
    <dgm:pt modelId="{089F4FA8-55AD-496D-860D-6FB4B3B08B55}" type="pres">
      <dgm:prSet presAssocID="{8D1E835F-6962-4343-B18F-84354CD44DAC}" presName="hierChild5" presStyleCnt="0"/>
      <dgm:spPr/>
    </dgm:pt>
    <dgm:pt modelId="{6F91D5B4-8DAD-4093-B5CB-0FBAA60B35C0}" type="pres">
      <dgm:prSet presAssocID="{6B1C8002-D4F6-4AEC-BD2B-6C4CBABC95CD}" presName="Name64" presStyleLbl="parChTrans1D4" presStyleIdx="7" presStyleCnt="9"/>
      <dgm:spPr/>
    </dgm:pt>
    <dgm:pt modelId="{2C5B443C-715F-4E3A-8201-33279DAC41FB}" type="pres">
      <dgm:prSet presAssocID="{6DDDEBDB-8A1D-4FC2-9514-9B003C546460}" presName="hierRoot2" presStyleCnt="0">
        <dgm:presLayoutVars>
          <dgm:hierBranch val="init"/>
        </dgm:presLayoutVars>
      </dgm:prSet>
      <dgm:spPr/>
    </dgm:pt>
    <dgm:pt modelId="{B6FEC8D7-D671-4AF4-B6EB-FA90FCDBBD9B}" type="pres">
      <dgm:prSet presAssocID="{6DDDEBDB-8A1D-4FC2-9514-9B003C546460}" presName="rootComposite" presStyleCnt="0"/>
      <dgm:spPr/>
    </dgm:pt>
    <dgm:pt modelId="{C7624447-66B7-4353-B0E5-281CAD1969BD}" type="pres">
      <dgm:prSet presAssocID="{6DDDEBDB-8A1D-4FC2-9514-9B003C546460}" presName="rootText" presStyleLbl="node4" presStyleIdx="7" presStyleCnt="9">
        <dgm:presLayoutVars>
          <dgm:chPref val="3"/>
        </dgm:presLayoutVars>
      </dgm:prSet>
      <dgm:spPr/>
    </dgm:pt>
    <dgm:pt modelId="{61FF57E6-CA5C-4D7F-B0C8-28227330FE00}" type="pres">
      <dgm:prSet presAssocID="{6DDDEBDB-8A1D-4FC2-9514-9B003C546460}" presName="rootConnector" presStyleLbl="node4" presStyleIdx="7" presStyleCnt="9"/>
      <dgm:spPr/>
    </dgm:pt>
    <dgm:pt modelId="{56D05990-CB9C-42AC-9C60-47A25CD895CB}" type="pres">
      <dgm:prSet presAssocID="{6DDDEBDB-8A1D-4FC2-9514-9B003C546460}" presName="hierChild4" presStyleCnt="0"/>
      <dgm:spPr/>
    </dgm:pt>
    <dgm:pt modelId="{045EC6E1-83A6-42B5-8AA3-DD48AC944135}" type="pres">
      <dgm:prSet presAssocID="{6DDDEBDB-8A1D-4FC2-9514-9B003C546460}" presName="hierChild5" presStyleCnt="0"/>
      <dgm:spPr/>
    </dgm:pt>
    <dgm:pt modelId="{3C50B520-5B25-4ABD-A71E-F23D8B27F856}" type="pres">
      <dgm:prSet presAssocID="{8B58D8B1-9528-4586-A687-2AE0C1165E2B}" presName="Name64" presStyleLbl="parChTrans1D4" presStyleIdx="8" presStyleCnt="9"/>
      <dgm:spPr/>
    </dgm:pt>
    <dgm:pt modelId="{C0BFBEA9-2A7F-4338-9805-4102EAEE7887}" type="pres">
      <dgm:prSet presAssocID="{68C25400-1CBF-45B6-B5DC-AAF7B4FC13F4}" presName="hierRoot2" presStyleCnt="0">
        <dgm:presLayoutVars>
          <dgm:hierBranch val="init"/>
        </dgm:presLayoutVars>
      </dgm:prSet>
      <dgm:spPr/>
    </dgm:pt>
    <dgm:pt modelId="{867F7B72-0004-4725-8B48-19EFF6567D8A}" type="pres">
      <dgm:prSet presAssocID="{68C25400-1CBF-45B6-B5DC-AAF7B4FC13F4}" presName="rootComposite" presStyleCnt="0"/>
      <dgm:spPr/>
    </dgm:pt>
    <dgm:pt modelId="{1E05F1F6-7EFE-4E9C-BC82-3E13B5817B59}" type="pres">
      <dgm:prSet presAssocID="{68C25400-1CBF-45B6-B5DC-AAF7B4FC13F4}" presName="rootText" presStyleLbl="node4" presStyleIdx="8" presStyleCnt="9">
        <dgm:presLayoutVars>
          <dgm:chPref val="3"/>
        </dgm:presLayoutVars>
      </dgm:prSet>
      <dgm:spPr/>
    </dgm:pt>
    <dgm:pt modelId="{F5F4E672-3162-4F69-A48E-7F9BF0BB6DCF}" type="pres">
      <dgm:prSet presAssocID="{68C25400-1CBF-45B6-B5DC-AAF7B4FC13F4}" presName="rootConnector" presStyleLbl="node4" presStyleIdx="8" presStyleCnt="9"/>
      <dgm:spPr/>
    </dgm:pt>
    <dgm:pt modelId="{EB161C1B-E1F5-40D3-8298-318DA0E37965}" type="pres">
      <dgm:prSet presAssocID="{68C25400-1CBF-45B6-B5DC-AAF7B4FC13F4}" presName="hierChild4" presStyleCnt="0"/>
      <dgm:spPr/>
    </dgm:pt>
    <dgm:pt modelId="{AFEEBD8E-FE16-4C63-A0A0-66DE43F8FD48}" type="pres">
      <dgm:prSet presAssocID="{68C25400-1CBF-45B6-B5DC-AAF7B4FC13F4}" presName="hierChild5" presStyleCnt="0"/>
      <dgm:spPr/>
    </dgm:pt>
    <dgm:pt modelId="{090D212D-BE1C-48C5-B318-86BEBC3A171E}" type="pres">
      <dgm:prSet presAssocID="{4D228326-363E-41C0-B81D-383E5134F0DE}" presName="hierChild5" presStyleCnt="0"/>
      <dgm:spPr/>
    </dgm:pt>
    <dgm:pt modelId="{A62A3E19-7277-4D5B-A33B-DFA8805A59C7}" type="pres">
      <dgm:prSet presAssocID="{9914D1C4-06CB-4923-B3C7-5BBFEC3A60DF}" presName="hierChild5" presStyleCnt="0"/>
      <dgm:spPr/>
    </dgm:pt>
    <dgm:pt modelId="{EA806015-9DBF-4556-9CA2-61A0C2BF2F64}" type="pres">
      <dgm:prSet presAssocID="{8BB24B2E-BB27-4EBA-8531-6D10B8C5AAD6}" presName="hierChild5" presStyleCnt="0"/>
      <dgm:spPr/>
    </dgm:pt>
    <dgm:pt modelId="{5B6FA307-5DA5-405A-B449-2A12453828A7}" type="pres">
      <dgm:prSet presAssocID="{F489FD08-3998-497F-B293-5ED89BACCB4F}" presName="hierChild3" presStyleCnt="0"/>
      <dgm:spPr/>
    </dgm:pt>
  </dgm:ptLst>
  <dgm:cxnLst>
    <dgm:cxn modelId="{567F0107-28AE-4788-850E-4F16ECE7AC9B}" type="presOf" srcId="{56892C77-4B04-44FA-8941-F2149D964450}" destId="{652363DA-934D-4465-B522-960A09890B90}" srcOrd="0" destOrd="0" presId="urn:microsoft.com/office/officeart/2009/3/layout/HorizontalOrganizationChart"/>
    <dgm:cxn modelId="{0FDEA10E-A8FE-4CE5-BA53-0B4E83F43318}" srcId="{4D228326-363E-41C0-B81D-383E5134F0DE}" destId="{8D1E835F-6962-4343-B18F-84354CD44DAC}" srcOrd="0" destOrd="0" parTransId="{7CE93191-CC80-42A3-8794-1E766EBFCE3E}" sibTransId="{72A53D68-75EF-469F-82A5-5C9D2BB5FD55}"/>
    <dgm:cxn modelId="{F5AA7C15-4B01-40C3-B476-E51E52DC05D4}" type="presOf" srcId="{319405A1-01E8-449A-BB99-4BEBE9AA7E14}" destId="{FF77C31D-A7AE-4A80-B3B9-2FFA432833C4}" srcOrd="0" destOrd="0" presId="urn:microsoft.com/office/officeart/2009/3/layout/HorizontalOrganizationChart"/>
    <dgm:cxn modelId="{AF710C1A-9BA8-4E1B-B039-D23176E57B9D}" type="presOf" srcId="{691135FC-B769-4B85-A065-7D0368C74360}" destId="{96FA4DA4-BF96-4A2E-BE43-E9AAD2D9CB42}" srcOrd="1" destOrd="0" presId="urn:microsoft.com/office/officeart/2009/3/layout/HorizontalOrganizationChart"/>
    <dgm:cxn modelId="{EC38691C-8F01-468A-AC64-4A9E15296A0D}" type="presOf" srcId="{F489FD08-3998-497F-B293-5ED89BACCB4F}" destId="{A39066D3-905A-4F63-B29C-844886D29436}" srcOrd="1" destOrd="0" presId="urn:microsoft.com/office/officeart/2009/3/layout/HorizontalOrganizationChart"/>
    <dgm:cxn modelId="{08543520-6EAC-4B97-991E-D2C36EEB09F3}" type="presOf" srcId="{1F25DA71-98B7-47DF-87DA-B05E9B4A6B43}" destId="{E644ABB4-0F21-40E7-A23C-9EAE3917BDCB}" srcOrd="0" destOrd="0" presId="urn:microsoft.com/office/officeart/2009/3/layout/HorizontalOrganizationChart"/>
    <dgm:cxn modelId="{6E531627-822B-4533-87B3-75E0253B919D}" type="presOf" srcId="{4D228326-363E-41C0-B81D-383E5134F0DE}" destId="{22EB5AE9-F474-4DF5-B8E7-E37B6DE8354A}" srcOrd="1" destOrd="0" presId="urn:microsoft.com/office/officeart/2009/3/layout/HorizontalOrganizationChart"/>
    <dgm:cxn modelId="{80FAA02B-9CC7-4B88-8A59-B862133AE075}" type="presOf" srcId="{4311DB01-9EDC-40F5-85FC-7BF1CDDE8709}" destId="{5CB206E1-EE74-402D-9BA4-3582D697763F}" srcOrd="1" destOrd="0" presId="urn:microsoft.com/office/officeart/2009/3/layout/HorizontalOrganizationChart"/>
    <dgm:cxn modelId="{12114430-FFAB-448A-8D55-30E0A0C0E2D5}" type="presOf" srcId="{32FC84A4-F448-4485-9A19-DA55D0621B9B}" destId="{03EB454A-A3D9-42BF-A423-9DABFA9AF65B}" srcOrd="0" destOrd="0" presId="urn:microsoft.com/office/officeart/2009/3/layout/HorizontalOrganizationChart"/>
    <dgm:cxn modelId="{81AD6434-D93C-4366-8CE1-BC5B933FF26E}" srcId="{62C4E8B2-FE71-47F9-BDD7-FFEA49D6801D}" destId="{878094ED-F2F3-4927-B361-DF51E32F499E}" srcOrd="0" destOrd="0" parTransId="{2B86662F-4BFD-44B1-A409-7BAD1E44379C}" sibTransId="{E80AF871-F5E7-41AE-889F-4509688117FB}"/>
    <dgm:cxn modelId="{FFCE843C-E433-4FCF-9B78-AD9957B87180}" type="presOf" srcId="{8BB24B2E-BB27-4EBA-8531-6D10B8C5AAD6}" destId="{D74FBBCC-3753-46A5-B1F8-0E0F76299A8D}" srcOrd="1" destOrd="0" presId="urn:microsoft.com/office/officeart/2009/3/layout/HorizontalOrganizationChart"/>
    <dgm:cxn modelId="{43B18A3D-6EDC-45DA-83FB-8750C9FC9521}" type="presOf" srcId="{8D1E835F-6962-4343-B18F-84354CD44DAC}" destId="{054D3446-5677-47F2-97E4-8B406B1341AC}" srcOrd="0" destOrd="0" presId="urn:microsoft.com/office/officeart/2009/3/layout/HorizontalOrganizationChart"/>
    <dgm:cxn modelId="{AADC465B-9F4F-4FB8-A14F-60B91D706998}" type="presOf" srcId="{6B1C8002-D4F6-4AEC-BD2B-6C4CBABC95CD}" destId="{6F91D5B4-8DAD-4093-B5CB-0FBAA60B35C0}" srcOrd="0" destOrd="0" presId="urn:microsoft.com/office/officeart/2009/3/layout/HorizontalOrganizationChart"/>
    <dgm:cxn modelId="{004EC35D-C997-413C-9DF5-65DD8A5BC71C}" type="presOf" srcId="{8BB24B2E-BB27-4EBA-8531-6D10B8C5AAD6}" destId="{F3B9E683-4A65-46B0-A821-919ACB754FBF}" srcOrd="0" destOrd="0" presId="urn:microsoft.com/office/officeart/2009/3/layout/HorizontalOrganizationChart"/>
    <dgm:cxn modelId="{F8864C43-0C2E-44C9-A098-356D916749D0}" type="presOf" srcId="{878094ED-F2F3-4927-B361-DF51E32F499E}" destId="{9639F9C5-5C48-4E1B-AF21-476B30582A69}" srcOrd="0" destOrd="0" presId="urn:microsoft.com/office/officeart/2009/3/layout/HorizontalOrganizationChart"/>
    <dgm:cxn modelId="{5AB7A548-4779-49FF-8487-68824EBDB24A}" type="presOf" srcId="{2FB6F6D0-BAAC-40C0-A521-11EE453038E2}" destId="{B0BFD6CA-BB84-4806-BB28-DEADA88BF2D7}" srcOrd="0" destOrd="0" presId="urn:microsoft.com/office/officeart/2009/3/layout/HorizontalOrganizationChart"/>
    <dgm:cxn modelId="{D3C1714E-C274-481E-A498-CCC5A0954A32}" type="presOf" srcId="{41AD1455-E4BC-4DDD-802B-D72127374C66}" destId="{F5650507-25E2-450F-8C91-4F77BA33834F}" srcOrd="1" destOrd="0" presId="urn:microsoft.com/office/officeart/2009/3/layout/HorizontalOrganizationChart"/>
    <dgm:cxn modelId="{EE9EF26F-4003-4BD4-8D7F-CBB4C0E876C1}" type="presOf" srcId="{6DDDEBDB-8A1D-4FC2-9514-9B003C546460}" destId="{61FF57E6-CA5C-4D7F-B0C8-28227330FE00}" srcOrd="1" destOrd="0" presId="urn:microsoft.com/office/officeart/2009/3/layout/HorizontalOrganizationChart"/>
    <dgm:cxn modelId="{D009DE71-2AA0-4342-8C9D-822844FE2657}" type="presOf" srcId="{62C4E8B2-FE71-47F9-BDD7-FFEA49D6801D}" destId="{C20F4905-6D86-4B54-BD7A-069E5A8230EE}" srcOrd="0" destOrd="0" presId="urn:microsoft.com/office/officeart/2009/3/layout/HorizontalOrganizationChart"/>
    <dgm:cxn modelId="{8588E272-29BC-4C0C-8CAD-7846600D3256}" srcId="{F489FD08-3998-497F-B293-5ED89BACCB4F}" destId="{F5096718-A2A0-423B-93E7-69DE2CA43E3E}" srcOrd="0" destOrd="0" parTransId="{F1CB03DB-1CCD-4019-A371-4D9116F0E1D5}" sibTransId="{29B630C0-F820-4C15-887C-9CF53961DE81}"/>
    <dgm:cxn modelId="{E5C57C54-1F86-45C7-AC46-A9971914DE96}" type="presOf" srcId="{F489FD08-3998-497F-B293-5ED89BACCB4F}" destId="{E3AF815C-864C-4A22-A6F1-62B1645BE7DA}" srcOrd="0" destOrd="0" presId="urn:microsoft.com/office/officeart/2009/3/layout/HorizontalOrganizationChart"/>
    <dgm:cxn modelId="{EEEE2757-E691-4F05-9EFE-20C0B991BA81}" srcId="{9914D1C4-06CB-4923-B3C7-5BBFEC3A60DF}" destId="{62C4E8B2-FE71-47F9-BDD7-FFEA49D6801D}" srcOrd="0" destOrd="0" parTransId="{56892C77-4B04-44FA-8941-F2149D964450}" sibTransId="{F4B0FF34-706A-476B-8ACF-6D49FA919343}"/>
    <dgm:cxn modelId="{B1EE807A-E0BD-42BE-A185-616C548E30BD}" srcId="{4D228326-363E-41C0-B81D-383E5134F0DE}" destId="{68C25400-1CBF-45B6-B5DC-AAF7B4FC13F4}" srcOrd="2" destOrd="0" parTransId="{8B58D8B1-9528-4586-A687-2AE0C1165E2B}" sibTransId="{6CA17981-7200-4937-B9FE-7CFCFD21DD8B}"/>
    <dgm:cxn modelId="{805C7C84-5A7B-450B-BEEA-4F1CC1547B25}" type="presOf" srcId="{DCA6F4EB-0654-44A9-9E29-06EE3FD8E1FD}" destId="{63DB9BBF-E216-438E-88F6-87BF819C27D5}" srcOrd="0" destOrd="0" presId="urn:microsoft.com/office/officeart/2009/3/layout/HorizontalOrganizationChart"/>
    <dgm:cxn modelId="{9235CB84-702C-49AB-8DF0-5CE32DAEF82E}" type="presOf" srcId="{4311DB01-9EDC-40F5-85FC-7BF1CDDE8709}" destId="{540AE5FB-9B8B-47A0-BEE7-9E14BA9F1735}" srcOrd="0" destOrd="0" presId="urn:microsoft.com/office/officeart/2009/3/layout/HorizontalOrganizationChart"/>
    <dgm:cxn modelId="{735BCA88-E8D2-4772-BBEB-04DD4669A4F8}" type="presOf" srcId="{7CE93191-CC80-42A3-8794-1E766EBFCE3E}" destId="{64E33528-0E25-462C-8583-7EBD74CA3350}" srcOrd="0" destOrd="0" presId="urn:microsoft.com/office/officeart/2009/3/layout/HorizontalOrganizationChart"/>
    <dgm:cxn modelId="{859C398E-833E-464A-AE7D-69DD34394452}" type="presOf" srcId="{03B0519A-7C78-451C-8F21-D3454DD0D434}" destId="{6DF16A9D-4644-4788-8CDA-8916090F3243}" srcOrd="0" destOrd="0" presId="urn:microsoft.com/office/officeart/2009/3/layout/HorizontalOrganizationChart"/>
    <dgm:cxn modelId="{4CC1A691-C650-4A4D-BEBC-A997F7DA07FA}" type="presOf" srcId="{35E80254-2517-4CC9-8377-65C5CF034999}" destId="{83E4C909-1527-46C6-8C76-CF3F05086213}" srcOrd="0" destOrd="0" presId="urn:microsoft.com/office/officeart/2009/3/layout/HorizontalOrganizationChart"/>
    <dgm:cxn modelId="{47750196-3F9D-4CE6-BA5A-C0584512D85A}" srcId="{9914D1C4-06CB-4923-B3C7-5BBFEC3A60DF}" destId="{4D228326-363E-41C0-B81D-383E5134F0DE}" srcOrd="1" destOrd="0" parTransId="{2201737C-158A-4EAC-8CD5-C644FEB242D0}" sibTransId="{98F201F2-88BF-4EBD-8CF4-875F2C97C2ED}"/>
    <dgm:cxn modelId="{47FB5396-C038-4B7C-A4BF-BD9E956FE7FC}" type="presOf" srcId="{68C25400-1CBF-45B6-B5DC-AAF7B4FC13F4}" destId="{1E05F1F6-7EFE-4E9C-BC82-3E13B5817B59}" srcOrd="0" destOrd="0" presId="urn:microsoft.com/office/officeart/2009/3/layout/HorizontalOrganizationChart"/>
    <dgm:cxn modelId="{6CA23898-CF19-4478-B66E-9A3AD02E6515}" type="presOf" srcId="{2B86662F-4BFD-44B1-A409-7BAD1E44379C}" destId="{C8E084AD-E82C-480F-849F-657BB88321E3}" srcOrd="0" destOrd="0" presId="urn:microsoft.com/office/officeart/2009/3/layout/HorizontalOrganizationChart"/>
    <dgm:cxn modelId="{F406F0A3-19F4-4550-A244-E75BAEEE7E83}" srcId="{806A7CBA-208D-49E1-9E93-F9DB39B7349A}" destId="{691135FC-B769-4B85-A065-7D0368C74360}" srcOrd="1" destOrd="0" parTransId="{03B0519A-7C78-451C-8F21-D3454DD0D434}" sibTransId="{6A2F239D-C1C1-45BC-B11A-0086CFAF3B1B}"/>
    <dgm:cxn modelId="{D8FACBA4-FED0-448E-A6B0-66954B7931D9}" type="presOf" srcId="{2201737C-158A-4EAC-8CD5-C644FEB242D0}" destId="{A686DC09-A8A1-4D02-AD60-EDAA77E01BC0}" srcOrd="0" destOrd="0" presId="urn:microsoft.com/office/officeart/2009/3/layout/HorizontalOrganizationChart"/>
    <dgm:cxn modelId="{CCFAA1AA-A118-4232-803C-4E186E91ABCB}" srcId="{4D228326-363E-41C0-B81D-383E5134F0DE}" destId="{6DDDEBDB-8A1D-4FC2-9514-9B003C546460}" srcOrd="1" destOrd="0" parTransId="{6B1C8002-D4F6-4AEC-BD2B-6C4CBABC95CD}" sibTransId="{3B847AB2-2394-4331-98D9-42F0EF1134D8}"/>
    <dgm:cxn modelId="{BABCDEAA-A0EC-4684-AA88-D4E0809F55E3}" type="presOf" srcId="{4D228326-363E-41C0-B81D-383E5134F0DE}" destId="{68856973-52E2-4E06-8B58-B7856884F8CB}" srcOrd="0" destOrd="0" presId="urn:microsoft.com/office/officeart/2009/3/layout/HorizontalOrganizationChart"/>
    <dgm:cxn modelId="{CBBEB7AB-4117-4A05-9D54-DA19DEFB0AB9}" type="presOf" srcId="{56AA341E-5072-47BE-B426-29E3308CB310}" destId="{DCB65B85-7D7D-48EE-BC91-2D984FB7C14D}" srcOrd="0" destOrd="0" presId="urn:microsoft.com/office/officeart/2009/3/layout/HorizontalOrganizationChart"/>
    <dgm:cxn modelId="{0EE1FBAB-BCD5-43F2-B345-C1E9F7A78852}" type="presOf" srcId="{D0AE22A3-F9B4-447E-8D62-39B1A253146A}" destId="{0D1C22C2-9408-492D-B4F2-85AA7EEAFF71}" srcOrd="0" destOrd="0" presId="urn:microsoft.com/office/officeart/2009/3/layout/HorizontalOrganizationChart"/>
    <dgm:cxn modelId="{DA6A57AE-3317-4917-8A03-66459ACC0511}" type="presOf" srcId="{319405A1-01E8-449A-BB99-4BEBE9AA7E14}" destId="{7C5DE166-B389-4836-BBA8-C55D07B2B59B}" srcOrd="1" destOrd="0" presId="urn:microsoft.com/office/officeart/2009/3/layout/HorizontalOrganizationChart"/>
    <dgm:cxn modelId="{FBF65AB1-BCCF-43ED-B3AA-6A3015858D2B}" srcId="{8BB24B2E-BB27-4EBA-8531-6D10B8C5AAD6}" destId="{806A7CBA-208D-49E1-9E93-F9DB39B7349A}" srcOrd="0" destOrd="0" parTransId="{2FB6F6D0-BAAC-40C0-A521-11EE453038E2}" sibTransId="{29A3DFA0-440D-4D97-B893-23EA11AD76D6}"/>
    <dgm:cxn modelId="{880873B2-0D37-4182-9742-67B9265D5FDC}" type="presOf" srcId="{41AD1455-E4BC-4DDD-802B-D72127374C66}" destId="{6E552716-DA64-4F53-84E4-34DEE2BD128F}" srcOrd="0" destOrd="0" presId="urn:microsoft.com/office/officeart/2009/3/layout/HorizontalOrganizationChart"/>
    <dgm:cxn modelId="{489C87B8-EE42-4516-B92B-AFFB28D46FC4}" type="presOf" srcId="{F1CB03DB-1CCD-4019-A371-4D9116F0E1D5}" destId="{36C3FA1A-D068-4D48-9E57-5D0F4D2C9B7F}" srcOrd="0" destOrd="0" presId="urn:microsoft.com/office/officeart/2009/3/layout/HorizontalOrganizationChart"/>
    <dgm:cxn modelId="{40B35EB9-93C7-4118-869E-F2970035670A}" type="presOf" srcId="{806A7CBA-208D-49E1-9E93-F9DB39B7349A}" destId="{236C6726-A06A-420B-91DE-BB9120DD52F9}" srcOrd="0" destOrd="0" presId="urn:microsoft.com/office/officeart/2009/3/layout/HorizontalOrganizationChart"/>
    <dgm:cxn modelId="{F5191FBA-CD40-4741-B43F-17D4327A1C89}" type="presOf" srcId="{CE6D8B1E-EA59-4B2A-BBE9-90880E14C6A2}" destId="{0248AFDA-9817-4C23-8C93-7AD0E9E89313}" srcOrd="0" destOrd="0" presId="urn:microsoft.com/office/officeart/2009/3/layout/HorizontalOrganizationChart"/>
    <dgm:cxn modelId="{94BB61C1-DA5A-4492-A9AE-CC8E967C8C22}" type="presOf" srcId="{8B58D8B1-9528-4586-A687-2AE0C1165E2B}" destId="{3C50B520-5B25-4ABD-A71E-F23D8B27F856}" srcOrd="0" destOrd="0" presId="urn:microsoft.com/office/officeart/2009/3/layout/HorizontalOrganizationChart"/>
    <dgm:cxn modelId="{C358F2C5-3483-4654-AECA-5F1850163316}" srcId="{806A7CBA-208D-49E1-9E93-F9DB39B7349A}" destId="{41AD1455-E4BC-4DDD-802B-D72127374C66}" srcOrd="0" destOrd="0" parTransId="{1F25DA71-98B7-47DF-87DA-B05E9B4A6B43}" sibTransId="{4B1992B5-0A89-43E6-A494-B52F3ED8D3B2}"/>
    <dgm:cxn modelId="{736D32C7-E9EC-4C07-8E7B-C1D315BBC919}" srcId="{8BB24B2E-BB27-4EBA-8531-6D10B8C5AAD6}" destId="{9914D1C4-06CB-4923-B3C7-5BBFEC3A60DF}" srcOrd="1" destOrd="0" parTransId="{32FC84A4-F448-4485-9A19-DA55D0621B9B}" sibTransId="{99025226-D6FC-455A-B1DA-EEF9AC990E66}"/>
    <dgm:cxn modelId="{717235CB-1341-485B-95C2-D6F502F68B49}" type="presOf" srcId="{9914D1C4-06CB-4923-B3C7-5BBFEC3A60DF}" destId="{F27171DA-0016-416D-B196-155DE9F0E689}" srcOrd="0" destOrd="0" presId="urn:microsoft.com/office/officeart/2009/3/layout/HorizontalOrganizationChart"/>
    <dgm:cxn modelId="{A8C091D1-6361-4566-AC94-FF42094045AF}" type="presOf" srcId="{68C25400-1CBF-45B6-B5DC-AAF7B4FC13F4}" destId="{F5F4E672-3162-4F69-A48E-7F9BF0BB6DCF}" srcOrd="1" destOrd="0" presId="urn:microsoft.com/office/officeart/2009/3/layout/HorizontalOrganizationChart"/>
    <dgm:cxn modelId="{636B1CD2-0B3D-4DF2-B7D2-4A0C4119A0E5}" srcId="{F5096718-A2A0-423B-93E7-69DE2CA43E3E}" destId="{4311DB01-9EDC-40F5-85FC-7BF1CDDE8709}" srcOrd="1" destOrd="0" parTransId="{35E80254-2517-4CC9-8377-65C5CF034999}" sibTransId="{7EB68638-2AD3-4CA4-AF43-B79FA0A6EE15}"/>
    <dgm:cxn modelId="{87381FD9-686F-405E-9509-8EDF9F505C6D}" type="presOf" srcId="{8D1E835F-6962-4343-B18F-84354CD44DAC}" destId="{AE6AA182-5BA5-48A1-A52B-552243D0DA0C}" srcOrd="1" destOrd="0" presId="urn:microsoft.com/office/officeart/2009/3/layout/HorizontalOrganizationChart"/>
    <dgm:cxn modelId="{A7CA8AE0-297B-4E2F-B58B-A931ACC90BA6}" srcId="{F489FD08-3998-497F-B293-5ED89BACCB4F}" destId="{8BB24B2E-BB27-4EBA-8531-6D10B8C5AAD6}" srcOrd="1" destOrd="0" parTransId="{CE6D8B1E-EA59-4B2A-BBE9-90880E14C6A2}" sibTransId="{7D312C73-916F-4E60-9297-634748165CC9}"/>
    <dgm:cxn modelId="{5F3B29E6-CC0A-494D-92B9-5B6320A8786D}" srcId="{DCA6F4EB-0654-44A9-9E29-06EE3FD8E1FD}" destId="{F489FD08-3998-497F-B293-5ED89BACCB4F}" srcOrd="0" destOrd="0" parTransId="{72C57395-160C-4655-A6C8-6D0C0A1CCF06}" sibTransId="{FF45B27D-E167-4062-B5A6-25831E450331}"/>
    <dgm:cxn modelId="{9F0E77E6-C7D4-4E6B-9D64-13FAE3EE9765}" type="presOf" srcId="{806A7CBA-208D-49E1-9E93-F9DB39B7349A}" destId="{8B346704-73A1-4285-8EF0-EEB0576E9F3A}" srcOrd="1" destOrd="0" presId="urn:microsoft.com/office/officeart/2009/3/layout/HorizontalOrganizationChart"/>
    <dgm:cxn modelId="{1142A8E8-E5B1-4E99-BE89-16B7B7D999B9}" type="presOf" srcId="{62C4E8B2-FE71-47F9-BDD7-FFEA49D6801D}" destId="{2491DB3E-938E-440D-AB16-DAD9E4C4E782}" srcOrd="1" destOrd="0" presId="urn:microsoft.com/office/officeart/2009/3/layout/HorizontalOrganizationChart"/>
    <dgm:cxn modelId="{52F874EA-F019-420D-9E92-06C2E52D5EBB}" type="presOf" srcId="{6DDDEBDB-8A1D-4FC2-9514-9B003C546460}" destId="{C7624447-66B7-4353-B0E5-281CAD1969BD}" srcOrd="0" destOrd="0" presId="urn:microsoft.com/office/officeart/2009/3/layout/HorizontalOrganizationChart"/>
    <dgm:cxn modelId="{02ADA5EA-0DD5-4105-B58A-E1BAFC20D2E0}" type="presOf" srcId="{9914D1C4-06CB-4923-B3C7-5BBFEC3A60DF}" destId="{B559FE7E-E77D-4D11-BCCE-838CD01D0B5E}" srcOrd="1" destOrd="0" presId="urn:microsoft.com/office/officeart/2009/3/layout/HorizontalOrganizationChart"/>
    <dgm:cxn modelId="{E7D298F0-53C5-4F92-A4AD-7134E4CBB267}" srcId="{F5096718-A2A0-423B-93E7-69DE2CA43E3E}" destId="{319405A1-01E8-449A-BB99-4BEBE9AA7E14}" srcOrd="0" destOrd="0" parTransId="{56AA341E-5072-47BE-B426-29E3308CB310}" sibTransId="{BD3676C6-7425-46BC-99AA-FA20457E2BDC}"/>
    <dgm:cxn modelId="{FE35C4F5-718D-40D6-A015-3831BFDAFD41}" srcId="{691135FC-B769-4B85-A065-7D0368C74360}" destId="{D0AE22A3-F9B4-447E-8D62-39B1A253146A}" srcOrd="0" destOrd="0" parTransId="{425AC221-BCC4-4888-9B08-F779FF385330}" sibTransId="{011BA1E4-621F-48DD-8494-99D4CD317558}"/>
    <dgm:cxn modelId="{3D1A86F7-1E30-424A-BDC7-7FB451AFBF28}" type="presOf" srcId="{F5096718-A2A0-423B-93E7-69DE2CA43E3E}" destId="{4622D973-87BD-4078-BF99-E3C4FB14ECD0}" srcOrd="1" destOrd="0" presId="urn:microsoft.com/office/officeart/2009/3/layout/HorizontalOrganizationChart"/>
    <dgm:cxn modelId="{AD9BCCF7-2033-4F79-A556-9971E96F83CB}" type="presOf" srcId="{425AC221-BCC4-4888-9B08-F779FF385330}" destId="{A5FFED6E-1BA9-4325-9830-1FF35D091980}" srcOrd="0" destOrd="0" presId="urn:microsoft.com/office/officeart/2009/3/layout/HorizontalOrganizationChart"/>
    <dgm:cxn modelId="{E5B845FB-70F5-4A10-B958-738EB3B2F7A5}" type="presOf" srcId="{F5096718-A2A0-423B-93E7-69DE2CA43E3E}" destId="{53FB2169-FF96-404F-B9A3-C23B51E77286}" srcOrd="0" destOrd="0" presId="urn:microsoft.com/office/officeart/2009/3/layout/HorizontalOrganizationChart"/>
    <dgm:cxn modelId="{3342A9FC-BF08-43AF-A6D0-F5BCA0CFACF2}" type="presOf" srcId="{878094ED-F2F3-4927-B361-DF51E32F499E}" destId="{C89CE454-AD3C-41DF-99F1-DF27C5A7BCFB}" srcOrd="1" destOrd="0" presId="urn:microsoft.com/office/officeart/2009/3/layout/HorizontalOrganizationChart"/>
    <dgm:cxn modelId="{27D59EFD-D7F3-449D-A527-E397328C035B}" type="presOf" srcId="{D0AE22A3-F9B4-447E-8D62-39B1A253146A}" destId="{F840674A-1B01-4B38-A225-B5B7B88BCACA}" srcOrd="1" destOrd="0" presId="urn:microsoft.com/office/officeart/2009/3/layout/HorizontalOrganizationChart"/>
    <dgm:cxn modelId="{27859DFF-844F-484A-9ADC-30457EB2F484}" type="presOf" srcId="{691135FC-B769-4B85-A065-7D0368C74360}" destId="{803E2EA7-58C4-4B66-BC3A-F0C307617805}" srcOrd="0" destOrd="0" presId="urn:microsoft.com/office/officeart/2009/3/layout/HorizontalOrganizationChart"/>
    <dgm:cxn modelId="{03EF3DED-E0C2-434A-B018-08549D3649B6}" type="presParOf" srcId="{63DB9BBF-E216-438E-88F6-87BF819C27D5}" destId="{D146FD43-781D-4434-B121-849723836229}" srcOrd="0" destOrd="0" presId="urn:microsoft.com/office/officeart/2009/3/layout/HorizontalOrganizationChart"/>
    <dgm:cxn modelId="{652E0DAE-BF28-4A52-BD63-70953D73C6EC}" type="presParOf" srcId="{D146FD43-781D-4434-B121-849723836229}" destId="{971AC81D-212F-4727-98FD-B7A572437F88}" srcOrd="0" destOrd="0" presId="urn:microsoft.com/office/officeart/2009/3/layout/HorizontalOrganizationChart"/>
    <dgm:cxn modelId="{83986F15-A781-4409-8F8B-71CB8D4DC9BF}" type="presParOf" srcId="{971AC81D-212F-4727-98FD-B7A572437F88}" destId="{E3AF815C-864C-4A22-A6F1-62B1645BE7DA}" srcOrd="0" destOrd="0" presId="urn:microsoft.com/office/officeart/2009/3/layout/HorizontalOrganizationChart"/>
    <dgm:cxn modelId="{7CB6EC1F-0793-44A2-B96D-3FB7E805970B}" type="presParOf" srcId="{971AC81D-212F-4727-98FD-B7A572437F88}" destId="{A39066D3-905A-4F63-B29C-844886D29436}" srcOrd="1" destOrd="0" presId="urn:microsoft.com/office/officeart/2009/3/layout/HorizontalOrganizationChart"/>
    <dgm:cxn modelId="{29AF9A96-F943-4ED2-A40E-94DDB9D36E15}" type="presParOf" srcId="{D146FD43-781D-4434-B121-849723836229}" destId="{EEC9B078-3594-4669-9F32-CDCD1B13D7B2}" srcOrd="1" destOrd="0" presId="urn:microsoft.com/office/officeart/2009/3/layout/HorizontalOrganizationChart"/>
    <dgm:cxn modelId="{2477300E-31D2-4137-AD08-D5DF9AD1F651}" type="presParOf" srcId="{EEC9B078-3594-4669-9F32-CDCD1B13D7B2}" destId="{36C3FA1A-D068-4D48-9E57-5D0F4D2C9B7F}" srcOrd="0" destOrd="0" presId="urn:microsoft.com/office/officeart/2009/3/layout/HorizontalOrganizationChart"/>
    <dgm:cxn modelId="{58F09AC1-0AA3-4871-8D03-A0D6A4A348E0}" type="presParOf" srcId="{EEC9B078-3594-4669-9F32-CDCD1B13D7B2}" destId="{E7A1A28F-97F3-4351-B7C6-A458E7093559}" srcOrd="1" destOrd="0" presId="urn:microsoft.com/office/officeart/2009/3/layout/HorizontalOrganizationChart"/>
    <dgm:cxn modelId="{EC588917-B56D-4C7F-9874-390948E1EDAD}" type="presParOf" srcId="{E7A1A28F-97F3-4351-B7C6-A458E7093559}" destId="{62FFDECF-C381-496D-9AB5-1CCF724CB86D}" srcOrd="0" destOrd="0" presId="urn:microsoft.com/office/officeart/2009/3/layout/HorizontalOrganizationChart"/>
    <dgm:cxn modelId="{5B1FE69D-1E7A-4D1B-8C4F-9201E9E3AA3F}" type="presParOf" srcId="{62FFDECF-C381-496D-9AB5-1CCF724CB86D}" destId="{53FB2169-FF96-404F-B9A3-C23B51E77286}" srcOrd="0" destOrd="0" presId="urn:microsoft.com/office/officeart/2009/3/layout/HorizontalOrganizationChart"/>
    <dgm:cxn modelId="{27A97D34-0F4C-421A-BB11-47F29563F98C}" type="presParOf" srcId="{62FFDECF-C381-496D-9AB5-1CCF724CB86D}" destId="{4622D973-87BD-4078-BF99-E3C4FB14ECD0}" srcOrd="1" destOrd="0" presId="urn:microsoft.com/office/officeart/2009/3/layout/HorizontalOrganizationChart"/>
    <dgm:cxn modelId="{89A2C6DD-83FC-4918-9E75-125DE5C097D7}" type="presParOf" srcId="{E7A1A28F-97F3-4351-B7C6-A458E7093559}" destId="{7E6B4187-E81B-407E-9922-B95F5BF0463F}" srcOrd="1" destOrd="0" presId="urn:microsoft.com/office/officeart/2009/3/layout/HorizontalOrganizationChart"/>
    <dgm:cxn modelId="{F6A0E911-DB80-4E78-8515-2C20C1C0A2A9}" type="presParOf" srcId="{7E6B4187-E81B-407E-9922-B95F5BF0463F}" destId="{DCB65B85-7D7D-48EE-BC91-2D984FB7C14D}" srcOrd="0" destOrd="0" presId="urn:microsoft.com/office/officeart/2009/3/layout/HorizontalOrganizationChart"/>
    <dgm:cxn modelId="{B1116511-7E73-49C0-8A10-A88F69BB5390}" type="presParOf" srcId="{7E6B4187-E81B-407E-9922-B95F5BF0463F}" destId="{9E7FAB27-10FA-454C-9DEE-E8BE0502495E}" srcOrd="1" destOrd="0" presId="urn:microsoft.com/office/officeart/2009/3/layout/HorizontalOrganizationChart"/>
    <dgm:cxn modelId="{BD42CFD5-CF88-43EA-8FDF-48075A7151FD}" type="presParOf" srcId="{9E7FAB27-10FA-454C-9DEE-E8BE0502495E}" destId="{C7E7D00B-3D32-43DE-9998-802A1F75A936}" srcOrd="0" destOrd="0" presId="urn:microsoft.com/office/officeart/2009/3/layout/HorizontalOrganizationChart"/>
    <dgm:cxn modelId="{407FB320-904B-465D-95EC-8F15672A3119}" type="presParOf" srcId="{C7E7D00B-3D32-43DE-9998-802A1F75A936}" destId="{FF77C31D-A7AE-4A80-B3B9-2FFA432833C4}" srcOrd="0" destOrd="0" presId="urn:microsoft.com/office/officeart/2009/3/layout/HorizontalOrganizationChart"/>
    <dgm:cxn modelId="{A9BA5E25-6794-47EF-A2B9-08BD5A637BD6}" type="presParOf" srcId="{C7E7D00B-3D32-43DE-9998-802A1F75A936}" destId="{7C5DE166-B389-4836-BBA8-C55D07B2B59B}" srcOrd="1" destOrd="0" presId="urn:microsoft.com/office/officeart/2009/3/layout/HorizontalOrganizationChart"/>
    <dgm:cxn modelId="{4C629EB9-E412-4958-B541-DD9EF4649A50}" type="presParOf" srcId="{9E7FAB27-10FA-454C-9DEE-E8BE0502495E}" destId="{9E5A05FF-A2C7-4A33-9EB4-918C6384DC91}" srcOrd="1" destOrd="0" presId="urn:microsoft.com/office/officeart/2009/3/layout/HorizontalOrganizationChart"/>
    <dgm:cxn modelId="{CF1B0C28-EBA5-4606-9C72-085DF35D9DA8}" type="presParOf" srcId="{9E7FAB27-10FA-454C-9DEE-E8BE0502495E}" destId="{7AB69EF1-906E-4C30-AF61-E73194367576}" srcOrd="2" destOrd="0" presId="urn:microsoft.com/office/officeart/2009/3/layout/HorizontalOrganizationChart"/>
    <dgm:cxn modelId="{98482BA7-0AB9-4FFF-9380-3BADE81504E2}" type="presParOf" srcId="{7E6B4187-E81B-407E-9922-B95F5BF0463F}" destId="{83E4C909-1527-46C6-8C76-CF3F05086213}" srcOrd="2" destOrd="0" presId="urn:microsoft.com/office/officeart/2009/3/layout/HorizontalOrganizationChart"/>
    <dgm:cxn modelId="{B3C80DD8-968C-4FF8-8C92-6D9432DAB247}" type="presParOf" srcId="{7E6B4187-E81B-407E-9922-B95F5BF0463F}" destId="{7B3A3C19-F9FC-4C0F-AD2F-26CE3BD48037}" srcOrd="3" destOrd="0" presId="urn:microsoft.com/office/officeart/2009/3/layout/HorizontalOrganizationChart"/>
    <dgm:cxn modelId="{E9FCA0BD-7C2F-4296-B5E7-AA14A213B0E1}" type="presParOf" srcId="{7B3A3C19-F9FC-4C0F-AD2F-26CE3BD48037}" destId="{EB0AD073-2ED4-4A8E-8A7A-6C5B728BA7A6}" srcOrd="0" destOrd="0" presId="urn:microsoft.com/office/officeart/2009/3/layout/HorizontalOrganizationChart"/>
    <dgm:cxn modelId="{E12D599C-0F63-4679-8496-9C0A572FACBA}" type="presParOf" srcId="{EB0AD073-2ED4-4A8E-8A7A-6C5B728BA7A6}" destId="{540AE5FB-9B8B-47A0-BEE7-9E14BA9F1735}" srcOrd="0" destOrd="0" presId="urn:microsoft.com/office/officeart/2009/3/layout/HorizontalOrganizationChart"/>
    <dgm:cxn modelId="{9D0106AE-4BC4-4543-AD57-C0BFA738FE30}" type="presParOf" srcId="{EB0AD073-2ED4-4A8E-8A7A-6C5B728BA7A6}" destId="{5CB206E1-EE74-402D-9BA4-3582D697763F}" srcOrd="1" destOrd="0" presId="urn:microsoft.com/office/officeart/2009/3/layout/HorizontalOrganizationChart"/>
    <dgm:cxn modelId="{CC530864-8FD2-4918-ADCC-D16A1F654334}" type="presParOf" srcId="{7B3A3C19-F9FC-4C0F-AD2F-26CE3BD48037}" destId="{B390CA68-7888-47B6-A710-166DA350860C}" srcOrd="1" destOrd="0" presId="urn:microsoft.com/office/officeart/2009/3/layout/HorizontalOrganizationChart"/>
    <dgm:cxn modelId="{AEDF0012-0C9C-4A19-9676-D03670B5E433}" type="presParOf" srcId="{7B3A3C19-F9FC-4C0F-AD2F-26CE3BD48037}" destId="{FCA00757-02BA-45C4-B43D-DB9DB47E8CF8}" srcOrd="2" destOrd="0" presId="urn:microsoft.com/office/officeart/2009/3/layout/HorizontalOrganizationChart"/>
    <dgm:cxn modelId="{E0B2AE90-CE88-4359-9835-D1AD55986CA8}" type="presParOf" srcId="{E7A1A28F-97F3-4351-B7C6-A458E7093559}" destId="{35988815-1FCA-4A73-8718-49583C530246}" srcOrd="2" destOrd="0" presId="urn:microsoft.com/office/officeart/2009/3/layout/HorizontalOrganizationChart"/>
    <dgm:cxn modelId="{5F2C9531-5D63-4CCD-A1EF-AE99D1533EB5}" type="presParOf" srcId="{EEC9B078-3594-4669-9F32-CDCD1B13D7B2}" destId="{0248AFDA-9817-4C23-8C93-7AD0E9E89313}" srcOrd="2" destOrd="0" presId="urn:microsoft.com/office/officeart/2009/3/layout/HorizontalOrganizationChart"/>
    <dgm:cxn modelId="{E9A7D1D6-BCC4-49C9-BE24-872D1821FA76}" type="presParOf" srcId="{EEC9B078-3594-4669-9F32-CDCD1B13D7B2}" destId="{2C5F2FAE-D26E-43EE-B2BC-D77B85C23F50}" srcOrd="3" destOrd="0" presId="urn:microsoft.com/office/officeart/2009/3/layout/HorizontalOrganizationChart"/>
    <dgm:cxn modelId="{3ED6AA33-999E-4B0D-8BEE-FA91520E108B}" type="presParOf" srcId="{2C5F2FAE-D26E-43EE-B2BC-D77B85C23F50}" destId="{0CA4B448-332F-48DA-AE58-F85BCA356525}" srcOrd="0" destOrd="0" presId="urn:microsoft.com/office/officeart/2009/3/layout/HorizontalOrganizationChart"/>
    <dgm:cxn modelId="{F4F3AE5B-60F6-4FD9-A8FA-A5CBE16FB1EF}" type="presParOf" srcId="{0CA4B448-332F-48DA-AE58-F85BCA356525}" destId="{F3B9E683-4A65-46B0-A821-919ACB754FBF}" srcOrd="0" destOrd="0" presId="urn:microsoft.com/office/officeart/2009/3/layout/HorizontalOrganizationChart"/>
    <dgm:cxn modelId="{3337A810-434F-42EB-B3F4-88686B917B3A}" type="presParOf" srcId="{0CA4B448-332F-48DA-AE58-F85BCA356525}" destId="{D74FBBCC-3753-46A5-B1F8-0E0F76299A8D}" srcOrd="1" destOrd="0" presId="urn:microsoft.com/office/officeart/2009/3/layout/HorizontalOrganizationChart"/>
    <dgm:cxn modelId="{C98A0982-DD57-41AB-932F-9D25DE7572FF}" type="presParOf" srcId="{2C5F2FAE-D26E-43EE-B2BC-D77B85C23F50}" destId="{448EC5B2-3786-4655-B4A9-6C1035B74235}" srcOrd="1" destOrd="0" presId="urn:microsoft.com/office/officeart/2009/3/layout/HorizontalOrganizationChart"/>
    <dgm:cxn modelId="{4209AA45-79DE-4D7E-B164-945A7405D693}" type="presParOf" srcId="{448EC5B2-3786-4655-B4A9-6C1035B74235}" destId="{B0BFD6CA-BB84-4806-BB28-DEADA88BF2D7}" srcOrd="0" destOrd="0" presId="urn:microsoft.com/office/officeart/2009/3/layout/HorizontalOrganizationChart"/>
    <dgm:cxn modelId="{3EDAB74F-D78E-42A9-9AF4-F2E7EFEE911E}" type="presParOf" srcId="{448EC5B2-3786-4655-B4A9-6C1035B74235}" destId="{45AD8BC4-7B33-47FF-8F0C-7260C945F049}" srcOrd="1" destOrd="0" presId="urn:microsoft.com/office/officeart/2009/3/layout/HorizontalOrganizationChart"/>
    <dgm:cxn modelId="{A1BAF696-835C-4B44-92EB-0399A2D06C45}" type="presParOf" srcId="{45AD8BC4-7B33-47FF-8F0C-7260C945F049}" destId="{5BEA41AF-62C1-4F23-9D55-AA5EA6D6B6D6}" srcOrd="0" destOrd="0" presId="urn:microsoft.com/office/officeart/2009/3/layout/HorizontalOrganizationChart"/>
    <dgm:cxn modelId="{3FED66F9-089F-410C-A7B6-183C405E09AB}" type="presParOf" srcId="{5BEA41AF-62C1-4F23-9D55-AA5EA6D6B6D6}" destId="{236C6726-A06A-420B-91DE-BB9120DD52F9}" srcOrd="0" destOrd="0" presId="urn:microsoft.com/office/officeart/2009/3/layout/HorizontalOrganizationChart"/>
    <dgm:cxn modelId="{EB68DD47-6105-4C9A-84D4-F076B3B62515}" type="presParOf" srcId="{5BEA41AF-62C1-4F23-9D55-AA5EA6D6B6D6}" destId="{8B346704-73A1-4285-8EF0-EEB0576E9F3A}" srcOrd="1" destOrd="0" presId="urn:microsoft.com/office/officeart/2009/3/layout/HorizontalOrganizationChart"/>
    <dgm:cxn modelId="{AF925673-4932-4F6F-BD78-4BD332648FEC}" type="presParOf" srcId="{45AD8BC4-7B33-47FF-8F0C-7260C945F049}" destId="{C34C860A-45F4-4F8E-966D-AD97B6E22BB4}" srcOrd="1" destOrd="0" presId="urn:microsoft.com/office/officeart/2009/3/layout/HorizontalOrganizationChart"/>
    <dgm:cxn modelId="{E1643ECC-6D55-4237-BA2A-4E38E93D9ACA}" type="presParOf" srcId="{C34C860A-45F4-4F8E-966D-AD97B6E22BB4}" destId="{E644ABB4-0F21-40E7-A23C-9EAE3917BDCB}" srcOrd="0" destOrd="0" presId="urn:microsoft.com/office/officeart/2009/3/layout/HorizontalOrganizationChart"/>
    <dgm:cxn modelId="{4FA187B2-849F-454A-B1C3-F80938F0EEA4}" type="presParOf" srcId="{C34C860A-45F4-4F8E-966D-AD97B6E22BB4}" destId="{60CCE0A5-A580-4F30-A128-D8603BB03EFC}" srcOrd="1" destOrd="0" presId="urn:microsoft.com/office/officeart/2009/3/layout/HorizontalOrganizationChart"/>
    <dgm:cxn modelId="{0C9976CD-EFB8-4799-AFA7-D464E9A1928D}" type="presParOf" srcId="{60CCE0A5-A580-4F30-A128-D8603BB03EFC}" destId="{53C17F4D-C85D-4208-B159-48C5696809A6}" srcOrd="0" destOrd="0" presId="urn:microsoft.com/office/officeart/2009/3/layout/HorizontalOrganizationChart"/>
    <dgm:cxn modelId="{09B33C81-4681-428E-89DB-6186A84B3064}" type="presParOf" srcId="{53C17F4D-C85D-4208-B159-48C5696809A6}" destId="{6E552716-DA64-4F53-84E4-34DEE2BD128F}" srcOrd="0" destOrd="0" presId="urn:microsoft.com/office/officeart/2009/3/layout/HorizontalOrganizationChart"/>
    <dgm:cxn modelId="{501EC27A-4652-4EC6-AA45-C4A4FAAA8AE0}" type="presParOf" srcId="{53C17F4D-C85D-4208-B159-48C5696809A6}" destId="{F5650507-25E2-450F-8C91-4F77BA33834F}" srcOrd="1" destOrd="0" presId="urn:microsoft.com/office/officeart/2009/3/layout/HorizontalOrganizationChart"/>
    <dgm:cxn modelId="{F4F13EE2-50CF-49E5-A676-738E97CD3540}" type="presParOf" srcId="{60CCE0A5-A580-4F30-A128-D8603BB03EFC}" destId="{0B425C1D-1759-4071-9263-038E17F268DB}" srcOrd="1" destOrd="0" presId="urn:microsoft.com/office/officeart/2009/3/layout/HorizontalOrganizationChart"/>
    <dgm:cxn modelId="{7A270C2A-289C-4324-B556-D5C98BFB24F8}" type="presParOf" srcId="{60CCE0A5-A580-4F30-A128-D8603BB03EFC}" destId="{22D7FB15-DBC8-4495-9FF0-900536179EBE}" srcOrd="2" destOrd="0" presId="urn:microsoft.com/office/officeart/2009/3/layout/HorizontalOrganizationChart"/>
    <dgm:cxn modelId="{4D590BFF-A8AB-4FFE-B380-AF206F8E393E}" type="presParOf" srcId="{C34C860A-45F4-4F8E-966D-AD97B6E22BB4}" destId="{6DF16A9D-4644-4788-8CDA-8916090F3243}" srcOrd="2" destOrd="0" presId="urn:microsoft.com/office/officeart/2009/3/layout/HorizontalOrganizationChart"/>
    <dgm:cxn modelId="{8D4041FD-9C6A-4851-9DC9-5FE1DB32DEC1}" type="presParOf" srcId="{C34C860A-45F4-4F8E-966D-AD97B6E22BB4}" destId="{12D6B9E9-5389-447C-92C5-934A0A396A28}" srcOrd="3" destOrd="0" presId="urn:microsoft.com/office/officeart/2009/3/layout/HorizontalOrganizationChart"/>
    <dgm:cxn modelId="{32CAA88C-7CBF-4D62-B38E-5C97AC4E9D8A}" type="presParOf" srcId="{12D6B9E9-5389-447C-92C5-934A0A396A28}" destId="{C7318B4D-2FA2-483A-805F-87A9A75D4E6E}" srcOrd="0" destOrd="0" presId="urn:microsoft.com/office/officeart/2009/3/layout/HorizontalOrganizationChart"/>
    <dgm:cxn modelId="{2FCE7580-FC94-4B70-ADA9-C4360EED93F5}" type="presParOf" srcId="{C7318B4D-2FA2-483A-805F-87A9A75D4E6E}" destId="{803E2EA7-58C4-4B66-BC3A-F0C307617805}" srcOrd="0" destOrd="0" presId="urn:microsoft.com/office/officeart/2009/3/layout/HorizontalOrganizationChart"/>
    <dgm:cxn modelId="{F4C8DFE8-54B8-444B-B98D-38E53C15C5EF}" type="presParOf" srcId="{C7318B4D-2FA2-483A-805F-87A9A75D4E6E}" destId="{96FA4DA4-BF96-4A2E-BE43-E9AAD2D9CB42}" srcOrd="1" destOrd="0" presId="urn:microsoft.com/office/officeart/2009/3/layout/HorizontalOrganizationChart"/>
    <dgm:cxn modelId="{8CBB0307-529A-4C10-81BF-86F1DA80C663}" type="presParOf" srcId="{12D6B9E9-5389-447C-92C5-934A0A396A28}" destId="{95104BFD-DD04-476B-912D-383BC085B60F}" srcOrd="1" destOrd="0" presId="urn:microsoft.com/office/officeart/2009/3/layout/HorizontalOrganizationChart"/>
    <dgm:cxn modelId="{0CE5385B-2F9E-43B7-948D-46AC2CFDC02F}" type="presParOf" srcId="{95104BFD-DD04-476B-912D-383BC085B60F}" destId="{A5FFED6E-1BA9-4325-9830-1FF35D091980}" srcOrd="0" destOrd="0" presId="urn:microsoft.com/office/officeart/2009/3/layout/HorizontalOrganizationChart"/>
    <dgm:cxn modelId="{6FEEAAFB-EDB7-4F47-9ED1-E979B67E0257}" type="presParOf" srcId="{95104BFD-DD04-476B-912D-383BC085B60F}" destId="{301DD16F-A683-4AB0-BCC8-634635D1549C}" srcOrd="1" destOrd="0" presId="urn:microsoft.com/office/officeart/2009/3/layout/HorizontalOrganizationChart"/>
    <dgm:cxn modelId="{E5481D85-624B-4FE6-8E1C-23D590C1CF31}" type="presParOf" srcId="{301DD16F-A683-4AB0-BCC8-634635D1549C}" destId="{6F679C39-86F1-40D3-BCFB-686F5C674709}" srcOrd="0" destOrd="0" presId="urn:microsoft.com/office/officeart/2009/3/layout/HorizontalOrganizationChart"/>
    <dgm:cxn modelId="{8AF1B38A-331C-4E38-9B70-3A623EF969C5}" type="presParOf" srcId="{6F679C39-86F1-40D3-BCFB-686F5C674709}" destId="{0D1C22C2-9408-492D-B4F2-85AA7EEAFF71}" srcOrd="0" destOrd="0" presId="urn:microsoft.com/office/officeart/2009/3/layout/HorizontalOrganizationChart"/>
    <dgm:cxn modelId="{B781B2DE-8A22-4B26-AE2C-7656D0C72531}" type="presParOf" srcId="{6F679C39-86F1-40D3-BCFB-686F5C674709}" destId="{F840674A-1B01-4B38-A225-B5B7B88BCACA}" srcOrd="1" destOrd="0" presId="urn:microsoft.com/office/officeart/2009/3/layout/HorizontalOrganizationChart"/>
    <dgm:cxn modelId="{5C5FEA22-D152-40D3-9EB8-F0912A9F7FBC}" type="presParOf" srcId="{301DD16F-A683-4AB0-BCC8-634635D1549C}" destId="{9E326442-8B07-499E-B008-2ABBC7CA7AF1}" srcOrd="1" destOrd="0" presId="urn:microsoft.com/office/officeart/2009/3/layout/HorizontalOrganizationChart"/>
    <dgm:cxn modelId="{F95424EA-036E-48B2-A166-4900FB36029A}" type="presParOf" srcId="{301DD16F-A683-4AB0-BCC8-634635D1549C}" destId="{469AE7F7-4798-4B8D-A193-8716A039E085}" srcOrd="2" destOrd="0" presId="urn:microsoft.com/office/officeart/2009/3/layout/HorizontalOrganizationChart"/>
    <dgm:cxn modelId="{F7CA43CE-21BF-4CD2-A1A6-E17688792827}" type="presParOf" srcId="{12D6B9E9-5389-447C-92C5-934A0A396A28}" destId="{CE84BCF7-0913-48B2-B8E2-626AB2D1E6FD}" srcOrd="2" destOrd="0" presId="urn:microsoft.com/office/officeart/2009/3/layout/HorizontalOrganizationChart"/>
    <dgm:cxn modelId="{F3B5DE4E-43EB-41B9-AE74-949972353E72}" type="presParOf" srcId="{45AD8BC4-7B33-47FF-8F0C-7260C945F049}" destId="{5FB9E786-445D-45EA-804A-50B78FC5D9AF}" srcOrd="2" destOrd="0" presId="urn:microsoft.com/office/officeart/2009/3/layout/HorizontalOrganizationChart"/>
    <dgm:cxn modelId="{94B3E188-2E5C-4F78-BBE3-3858595B99C4}" type="presParOf" srcId="{448EC5B2-3786-4655-B4A9-6C1035B74235}" destId="{03EB454A-A3D9-42BF-A423-9DABFA9AF65B}" srcOrd="2" destOrd="0" presId="urn:microsoft.com/office/officeart/2009/3/layout/HorizontalOrganizationChart"/>
    <dgm:cxn modelId="{44D6C0F5-22BD-459D-A2C3-95DCA2F7863A}" type="presParOf" srcId="{448EC5B2-3786-4655-B4A9-6C1035B74235}" destId="{2758A114-97CD-4934-9E5D-FA951793179B}" srcOrd="3" destOrd="0" presId="urn:microsoft.com/office/officeart/2009/3/layout/HorizontalOrganizationChart"/>
    <dgm:cxn modelId="{9CD83740-8D72-4510-8F3F-5DB71317089B}" type="presParOf" srcId="{2758A114-97CD-4934-9E5D-FA951793179B}" destId="{1F871F66-D3E6-483A-810E-20DAF3CC941C}" srcOrd="0" destOrd="0" presId="urn:microsoft.com/office/officeart/2009/3/layout/HorizontalOrganizationChart"/>
    <dgm:cxn modelId="{C90A3650-F666-44F1-865F-43BDB0AA15B7}" type="presParOf" srcId="{1F871F66-D3E6-483A-810E-20DAF3CC941C}" destId="{F27171DA-0016-416D-B196-155DE9F0E689}" srcOrd="0" destOrd="0" presId="urn:microsoft.com/office/officeart/2009/3/layout/HorizontalOrganizationChart"/>
    <dgm:cxn modelId="{F0AF8AD3-1AB2-4187-A54D-BBC2CCFC5491}" type="presParOf" srcId="{1F871F66-D3E6-483A-810E-20DAF3CC941C}" destId="{B559FE7E-E77D-4D11-BCCE-838CD01D0B5E}" srcOrd="1" destOrd="0" presId="urn:microsoft.com/office/officeart/2009/3/layout/HorizontalOrganizationChart"/>
    <dgm:cxn modelId="{7972EEA0-6D51-4EB4-AF5A-B4F362777CBD}" type="presParOf" srcId="{2758A114-97CD-4934-9E5D-FA951793179B}" destId="{6984C84E-18C9-4D70-A3B6-1B5D304360E6}" srcOrd="1" destOrd="0" presId="urn:microsoft.com/office/officeart/2009/3/layout/HorizontalOrganizationChart"/>
    <dgm:cxn modelId="{D0B9C7A9-0750-4DD8-BCAB-7E08F669BDC3}" type="presParOf" srcId="{6984C84E-18C9-4D70-A3B6-1B5D304360E6}" destId="{652363DA-934D-4465-B522-960A09890B90}" srcOrd="0" destOrd="0" presId="urn:microsoft.com/office/officeart/2009/3/layout/HorizontalOrganizationChart"/>
    <dgm:cxn modelId="{10BC902B-1F77-4BA5-9B6C-44BB5AE515CF}" type="presParOf" srcId="{6984C84E-18C9-4D70-A3B6-1B5D304360E6}" destId="{7E807F06-DBB1-4F1D-B3B2-92695905651A}" srcOrd="1" destOrd="0" presId="urn:microsoft.com/office/officeart/2009/3/layout/HorizontalOrganizationChart"/>
    <dgm:cxn modelId="{EF9D2079-0906-4E1E-ACAC-67B5E7BC12A6}" type="presParOf" srcId="{7E807F06-DBB1-4F1D-B3B2-92695905651A}" destId="{F7E14EFA-CF6D-44FA-9B42-1D5E85D70C6B}" srcOrd="0" destOrd="0" presId="urn:microsoft.com/office/officeart/2009/3/layout/HorizontalOrganizationChart"/>
    <dgm:cxn modelId="{E34162EC-6FF3-4BB1-821F-6E175DC665C8}" type="presParOf" srcId="{F7E14EFA-CF6D-44FA-9B42-1D5E85D70C6B}" destId="{C20F4905-6D86-4B54-BD7A-069E5A8230EE}" srcOrd="0" destOrd="0" presId="urn:microsoft.com/office/officeart/2009/3/layout/HorizontalOrganizationChart"/>
    <dgm:cxn modelId="{1EC576EC-6770-4684-9387-E6A4644165A6}" type="presParOf" srcId="{F7E14EFA-CF6D-44FA-9B42-1D5E85D70C6B}" destId="{2491DB3E-938E-440D-AB16-DAD9E4C4E782}" srcOrd="1" destOrd="0" presId="urn:microsoft.com/office/officeart/2009/3/layout/HorizontalOrganizationChart"/>
    <dgm:cxn modelId="{CB762C8B-39E1-4CA1-8A3F-B795DFB731EF}" type="presParOf" srcId="{7E807F06-DBB1-4F1D-B3B2-92695905651A}" destId="{57F27900-BB8A-47D9-A578-AB9ADE4874C8}" srcOrd="1" destOrd="0" presId="urn:microsoft.com/office/officeart/2009/3/layout/HorizontalOrganizationChart"/>
    <dgm:cxn modelId="{0A033960-444A-4B41-9182-DC05E22F468D}" type="presParOf" srcId="{57F27900-BB8A-47D9-A578-AB9ADE4874C8}" destId="{C8E084AD-E82C-480F-849F-657BB88321E3}" srcOrd="0" destOrd="0" presId="urn:microsoft.com/office/officeart/2009/3/layout/HorizontalOrganizationChart"/>
    <dgm:cxn modelId="{72AFECB2-8491-4A67-BDA2-DC17EF5BC754}" type="presParOf" srcId="{57F27900-BB8A-47D9-A578-AB9ADE4874C8}" destId="{52A4EB55-CC21-4590-80DC-71C733B4ADC1}" srcOrd="1" destOrd="0" presId="urn:microsoft.com/office/officeart/2009/3/layout/HorizontalOrganizationChart"/>
    <dgm:cxn modelId="{85D0B948-66F3-49DB-855A-C6D00DFA19B3}" type="presParOf" srcId="{52A4EB55-CC21-4590-80DC-71C733B4ADC1}" destId="{DF51BB39-75C6-437F-B8D9-194A52F43E15}" srcOrd="0" destOrd="0" presId="urn:microsoft.com/office/officeart/2009/3/layout/HorizontalOrganizationChart"/>
    <dgm:cxn modelId="{B53F2BD7-6B29-401B-B5D7-AA1EE767B8A4}" type="presParOf" srcId="{DF51BB39-75C6-437F-B8D9-194A52F43E15}" destId="{9639F9C5-5C48-4E1B-AF21-476B30582A69}" srcOrd="0" destOrd="0" presId="urn:microsoft.com/office/officeart/2009/3/layout/HorizontalOrganizationChart"/>
    <dgm:cxn modelId="{337FC043-EFEA-4CB1-ABC0-0EE305F9AE65}" type="presParOf" srcId="{DF51BB39-75C6-437F-B8D9-194A52F43E15}" destId="{C89CE454-AD3C-41DF-99F1-DF27C5A7BCFB}" srcOrd="1" destOrd="0" presId="urn:microsoft.com/office/officeart/2009/3/layout/HorizontalOrganizationChart"/>
    <dgm:cxn modelId="{50C9146E-7004-447C-86BA-2D236CF7870E}" type="presParOf" srcId="{52A4EB55-CC21-4590-80DC-71C733B4ADC1}" destId="{EA727D3C-A6C3-4531-929C-7F7110E5465F}" srcOrd="1" destOrd="0" presId="urn:microsoft.com/office/officeart/2009/3/layout/HorizontalOrganizationChart"/>
    <dgm:cxn modelId="{553FA37C-7313-4D11-B88F-1A10AB3EB4B9}" type="presParOf" srcId="{52A4EB55-CC21-4590-80DC-71C733B4ADC1}" destId="{09BF901B-C038-4FD8-AE0A-3CE0CD852BD6}" srcOrd="2" destOrd="0" presId="urn:microsoft.com/office/officeart/2009/3/layout/HorizontalOrganizationChart"/>
    <dgm:cxn modelId="{504C9F54-BEA1-4FC5-A3E5-2EAA0B17FE99}" type="presParOf" srcId="{7E807F06-DBB1-4F1D-B3B2-92695905651A}" destId="{CCC71FCF-BA8D-4AC3-B79C-4A1DA2743CF7}" srcOrd="2" destOrd="0" presId="urn:microsoft.com/office/officeart/2009/3/layout/HorizontalOrganizationChart"/>
    <dgm:cxn modelId="{5FEA3216-E3A9-4A01-AAFB-BFCEC6D7700E}" type="presParOf" srcId="{6984C84E-18C9-4D70-A3B6-1B5D304360E6}" destId="{A686DC09-A8A1-4D02-AD60-EDAA77E01BC0}" srcOrd="2" destOrd="0" presId="urn:microsoft.com/office/officeart/2009/3/layout/HorizontalOrganizationChart"/>
    <dgm:cxn modelId="{143FA713-199B-4020-B1CF-64CBA51A5F87}" type="presParOf" srcId="{6984C84E-18C9-4D70-A3B6-1B5D304360E6}" destId="{B311FC85-5FF0-449D-B9F5-9514084A4ADB}" srcOrd="3" destOrd="0" presId="urn:microsoft.com/office/officeart/2009/3/layout/HorizontalOrganizationChart"/>
    <dgm:cxn modelId="{F675C48B-5422-42B8-9882-859B70D87ECB}" type="presParOf" srcId="{B311FC85-5FF0-449D-B9F5-9514084A4ADB}" destId="{D1D54D7F-81F3-4DE5-B3D3-90554AE091B1}" srcOrd="0" destOrd="0" presId="urn:microsoft.com/office/officeart/2009/3/layout/HorizontalOrganizationChart"/>
    <dgm:cxn modelId="{1A9E114C-6156-403F-9626-29F5968E3B64}" type="presParOf" srcId="{D1D54D7F-81F3-4DE5-B3D3-90554AE091B1}" destId="{68856973-52E2-4E06-8B58-B7856884F8CB}" srcOrd="0" destOrd="0" presId="urn:microsoft.com/office/officeart/2009/3/layout/HorizontalOrganizationChart"/>
    <dgm:cxn modelId="{A8239D86-FD84-407F-B286-9E068E50358E}" type="presParOf" srcId="{D1D54D7F-81F3-4DE5-B3D3-90554AE091B1}" destId="{22EB5AE9-F474-4DF5-B8E7-E37B6DE8354A}" srcOrd="1" destOrd="0" presId="urn:microsoft.com/office/officeart/2009/3/layout/HorizontalOrganizationChart"/>
    <dgm:cxn modelId="{6AFD69E8-3BD0-4528-9549-3D32B0F5FE9D}" type="presParOf" srcId="{B311FC85-5FF0-449D-B9F5-9514084A4ADB}" destId="{9A10BBFA-343C-4D7E-9B2D-340BCE28F31B}" srcOrd="1" destOrd="0" presId="urn:microsoft.com/office/officeart/2009/3/layout/HorizontalOrganizationChart"/>
    <dgm:cxn modelId="{B12C9856-E84A-4A96-A697-97B7BC0AB026}" type="presParOf" srcId="{9A10BBFA-343C-4D7E-9B2D-340BCE28F31B}" destId="{64E33528-0E25-462C-8583-7EBD74CA3350}" srcOrd="0" destOrd="0" presId="urn:microsoft.com/office/officeart/2009/3/layout/HorizontalOrganizationChart"/>
    <dgm:cxn modelId="{8E58F47C-E68D-448B-879B-6270200D4255}" type="presParOf" srcId="{9A10BBFA-343C-4D7E-9B2D-340BCE28F31B}" destId="{1C69A86E-8465-4038-B207-643E17CB9303}" srcOrd="1" destOrd="0" presId="urn:microsoft.com/office/officeart/2009/3/layout/HorizontalOrganizationChart"/>
    <dgm:cxn modelId="{A13DC1FE-02E6-44FA-9FF7-60FABD6D1E8E}" type="presParOf" srcId="{1C69A86E-8465-4038-B207-643E17CB9303}" destId="{ECB6C769-9060-487C-928F-BEEF93E76583}" srcOrd="0" destOrd="0" presId="urn:microsoft.com/office/officeart/2009/3/layout/HorizontalOrganizationChart"/>
    <dgm:cxn modelId="{F179A068-30B7-406A-ABB8-56298075ECD4}" type="presParOf" srcId="{ECB6C769-9060-487C-928F-BEEF93E76583}" destId="{054D3446-5677-47F2-97E4-8B406B1341AC}" srcOrd="0" destOrd="0" presId="urn:microsoft.com/office/officeart/2009/3/layout/HorizontalOrganizationChart"/>
    <dgm:cxn modelId="{F4BDF579-1518-4734-A5AF-7E00A9527B0B}" type="presParOf" srcId="{ECB6C769-9060-487C-928F-BEEF93E76583}" destId="{AE6AA182-5BA5-48A1-A52B-552243D0DA0C}" srcOrd="1" destOrd="0" presId="urn:microsoft.com/office/officeart/2009/3/layout/HorizontalOrganizationChart"/>
    <dgm:cxn modelId="{29A12732-59E8-483C-9314-139725D115E9}" type="presParOf" srcId="{1C69A86E-8465-4038-B207-643E17CB9303}" destId="{37AFA4A6-4B43-4D25-869F-E5EDB16E1932}" srcOrd="1" destOrd="0" presId="urn:microsoft.com/office/officeart/2009/3/layout/HorizontalOrganizationChart"/>
    <dgm:cxn modelId="{F31CE002-FA5D-4A13-9E3C-73E0255DE57E}" type="presParOf" srcId="{1C69A86E-8465-4038-B207-643E17CB9303}" destId="{089F4FA8-55AD-496D-860D-6FB4B3B08B55}" srcOrd="2" destOrd="0" presId="urn:microsoft.com/office/officeart/2009/3/layout/HorizontalOrganizationChart"/>
    <dgm:cxn modelId="{F688A888-A8BE-403A-ACF6-A3B08AAC50B1}" type="presParOf" srcId="{9A10BBFA-343C-4D7E-9B2D-340BCE28F31B}" destId="{6F91D5B4-8DAD-4093-B5CB-0FBAA60B35C0}" srcOrd="2" destOrd="0" presId="urn:microsoft.com/office/officeart/2009/3/layout/HorizontalOrganizationChart"/>
    <dgm:cxn modelId="{664646AC-F2A4-48B9-982D-3A0266F67FFA}" type="presParOf" srcId="{9A10BBFA-343C-4D7E-9B2D-340BCE28F31B}" destId="{2C5B443C-715F-4E3A-8201-33279DAC41FB}" srcOrd="3" destOrd="0" presId="urn:microsoft.com/office/officeart/2009/3/layout/HorizontalOrganizationChart"/>
    <dgm:cxn modelId="{7D4E336B-C6DD-4D06-A3FF-68E26A28D86C}" type="presParOf" srcId="{2C5B443C-715F-4E3A-8201-33279DAC41FB}" destId="{B6FEC8D7-D671-4AF4-B6EB-FA90FCDBBD9B}" srcOrd="0" destOrd="0" presId="urn:microsoft.com/office/officeart/2009/3/layout/HorizontalOrganizationChart"/>
    <dgm:cxn modelId="{6CDA8812-3718-4D39-89A3-180E6090D24E}" type="presParOf" srcId="{B6FEC8D7-D671-4AF4-B6EB-FA90FCDBBD9B}" destId="{C7624447-66B7-4353-B0E5-281CAD1969BD}" srcOrd="0" destOrd="0" presId="urn:microsoft.com/office/officeart/2009/3/layout/HorizontalOrganizationChart"/>
    <dgm:cxn modelId="{1E719EDD-FCD9-4E51-BD48-2A5739D0FE2F}" type="presParOf" srcId="{B6FEC8D7-D671-4AF4-B6EB-FA90FCDBBD9B}" destId="{61FF57E6-CA5C-4D7F-B0C8-28227330FE00}" srcOrd="1" destOrd="0" presId="urn:microsoft.com/office/officeart/2009/3/layout/HorizontalOrganizationChart"/>
    <dgm:cxn modelId="{F03E2359-A456-43E1-89E8-E3C0ADB4F001}" type="presParOf" srcId="{2C5B443C-715F-4E3A-8201-33279DAC41FB}" destId="{56D05990-CB9C-42AC-9C60-47A25CD895CB}" srcOrd="1" destOrd="0" presId="urn:microsoft.com/office/officeart/2009/3/layout/HorizontalOrganizationChart"/>
    <dgm:cxn modelId="{FB84840C-D347-4C67-BE26-47A97383045E}" type="presParOf" srcId="{2C5B443C-715F-4E3A-8201-33279DAC41FB}" destId="{045EC6E1-83A6-42B5-8AA3-DD48AC944135}" srcOrd="2" destOrd="0" presId="urn:microsoft.com/office/officeart/2009/3/layout/HorizontalOrganizationChart"/>
    <dgm:cxn modelId="{9138F7CE-236F-45DA-8A52-9373F28BE518}" type="presParOf" srcId="{9A10BBFA-343C-4D7E-9B2D-340BCE28F31B}" destId="{3C50B520-5B25-4ABD-A71E-F23D8B27F856}" srcOrd="4" destOrd="0" presId="urn:microsoft.com/office/officeart/2009/3/layout/HorizontalOrganizationChart"/>
    <dgm:cxn modelId="{A34662D2-2836-47E6-9B60-1F2F03EBFDA6}" type="presParOf" srcId="{9A10BBFA-343C-4D7E-9B2D-340BCE28F31B}" destId="{C0BFBEA9-2A7F-4338-9805-4102EAEE7887}" srcOrd="5" destOrd="0" presId="urn:microsoft.com/office/officeart/2009/3/layout/HorizontalOrganizationChart"/>
    <dgm:cxn modelId="{ADB98002-A37A-4D0C-92BE-3B66BF8A251A}" type="presParOf" srcId="{C0BFBEA9-2A7F-4338-9805-4102EAEE7887}" destId="{867F7B72-0004-4725-8B48-19EFF6567D8A}" srcOrd="0" destOrd="0" presId="urn:microsoft.com/office/officeart/2009/3/layout/HorizontalOrganizationChart"/>
    <dgm:cxn modelId="{5784C047-3FEE-44FE-A71B-7C347B103C36}" type="presParOf" srcId="{867F7B72-0004-4725-8B48-19EFF6567D8A}" destId="{1E05F1F6-7EFE-4E9C-BC82-3E13B5817B59}" srcOrd="0" destOrd="0" presId="urn:microsoft.com/office/officeart/2009/3/layout/HorizontalOrganizationChart"/>
    <dgm:cxn modelId="{F9C8D3EC-09F4-45E7-93CE-6DF3A51D3757}" type="presParOf" srcId="{867F7B72-0004-4725-8B48-19EFF6567D8A}" destId="{F5F4E672-3162-4F69-A48E-7F9BF0BB6DCF}" srcOrd="1" destOrd="0" presId="urn:microsoft.com/office/officeart/2009/3/layout/HorizontalOrganizationChart"/>
    <dgm:cxn modelId="{5478C7B3-8D12-4530-AB9B-FD9A8C523C8D}" type="presParOf" srcId="{C0BFBEA9-2A7F-4338-9805-4102EAEE7887}" destId="{EB161C1B-E1F5-40D3-8298-318DA0E37965}" srcOrd="1" destOrd="0" presId="urn:microsoft.com/office/officeart/2009/3/layout/HorizontalOrganizationChart"/>
    <dgm:cxn modelId="{9E48304B-031C-48AA-8755-4AE508213891}" type="presParOf" srcId="{C0BFBEA9-2A7F-4338-9805-4102EAEE7887}" destId="{AFEEBD8E-FE16-4C63-A0A0-66DE43F8FD48}" srcOrd="2" destOrd="0" presId="urn:microsoft.com/office/officeart/2009/3/layout/HorizontalOrganizationChart"/>
    <dgm:cxn modelId="{888A7AEA-2F4D-4B99-B013-4F2CD7FC20E6}" type="presParOf" srcId="{B311FC85-5FF0-449D-B9F5-9514084A4ADB}" destId="{090D212D-BE1C-48C5-B318-86BEBC3A171E}" srcOrd="2" destOrd="0" presId="urn:microsoft.com/office/officeart/2009/3/layout/HorizontalOrganizationChart"/>
    <dgm:cxn modelId="{49AD6903-55C5-49D0-90E6-3393C3CA0B0D}" type="presParOf" srcId="{2758A114-97CD-4934-9E5D-FA951793179B}" destId="{A62A3E19-7277-4D5B-A33B-DFA8805A59C7}" srcOrd="2" destOrd="0" presId="urn:microsoft.com/office/officeart/2009/3/layout/HorizontalOrganizationChart"/>
    <dgm:cxn modelId="{98F53613-EF60-41EB-8C1A-6AA5E83C8C19}" type="presParOf" srcId="{2C5F2FAE-D26E-43EE-B2BC-D77B85C23F50}" destId="{EA806015-9DBF-4556-9CA2-61A0C2BF2F64}" srcOrd="2" destOrd="0" presId="urn:microsoft.com/office/officeart/2009/3/layout/HorizontalOrganizationChart"/>
    <dgm:cxn modelId="{D09E5C59-2DE4-4846-8988-E84D714FC2E0}" type="presParOf" srcId="{D146FD43-781D-4434-B121-849723836229}" destId="{5B6FA307-5DA5-405A-B449-2A12453828A7}"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63695A9-779D-4AA4-ACE0-4FE6DACD5982}" type="doc">
      <dgm:prSet loTypeId="urn:microsoft.com/office/officeart/2005/8/layout/vList5" loCatId="list" qsTypeId="urn:microsoft.com/office/officeart/2005/8/quickstyle/simple1" qsCatId="simple" csTypeId="urn:microsoft.com/office/officeart/2005/8/colors/accent1_2" csCatId="accent1" phldr="1"/>
      <dgm:spPr/>
    </dgm:pt>
    <dgm:pt modelId="{CD86FBBE-13F4-443A-965A-B2A247A877B2}">
      <dgm:prSet phldrT="[Text]"/>
      <dgm:spPr/>
      <dgm:t>
        <a:bodyPr/>
        <a:lstStyle/>
        <a:p>
          <a:r>
            <a:rPr lang="en-GB">
              <a:solidFill>
                <a:schemeClr val="bg1"/>
              </a:solidFill>
            </a:rPr>
            <a:t>Strength</a:t>
          </a:r>
          <a:endParaRPr lang="en-US">
            <a:solidFill>
              <a:schemeClr val="bg1"/>
            </a:solidFill>
          </a:endParaRPr>
        </a:p>
      </dgm:t>
    </dgm:pt>
    <dgm:pt modelId="{5437BF98-3871-4E2E-965A-2C5C7C7DB7CC}" type="parTrans" cxnId="{8C8FD0B1-49C8-4226-B1E9-6F6A07A1ADCF}">
      <dgm:prSet/>
      <dgm:spPr/>
      <dgm:t>
        <a:bodyPr/>
        <a:lstStyle/>
        <a:p>
          <a:endParaRPr lang="en-US">
            <a:solidFill>
              <a:schemeClr val="bg1"/>
            </a:solidFill>
          </a:endParaRPr>
        </a:p>
      </dgm:t>
    </dgm:pt>
    <dgm:pt modelId="{1AAE8E90-5D89-432B-94C7-5D84C2403D0C}" type="sibTrans" cxnId="{8C8FD0B1-49C8-4226-B1E9-6F6A07A1ADCF}">
      <dgm:prSet/>
      <dgm:spPr/>
      <dgm:t>
        <a:bodyPr/>
        <a:lstStyle/>
        <a:p>
          <a:endParaRPr lang="en-US">
            <a:solidFill>
              <a:schemeClr val="bg1"/>
            </a:solidFill>
          </a:endParaRPr>
        </a:p>
      </dgm:t>
    </dgm:pt>
    <dgm:pt modelId="{1137FFF1-F27D-4D79-8C16-960356A819F8}">
      <dgm:prSet phldrT="[Text]"/>
      <dgm:spPr/>
      <dgm:t>
        <a:bodyPr/>
        <a:lstStyle/>
        <a:p>
          <a:r>
            <a:rPr lang="en-GB">
              <a:solidFill>
                <a:schemeClr val="bg1"/>
              </a:solidFill>
            </a:rPr>
            <a:t>Specificity</a:t>
          </a:r>
          <a:endParaRPr lang="en-US">
            <a:solidFill>
              <a:schemeClr val="bg1"/>
            </a:solidFill>
          </a:endParaRPr>
        </a:p>
      </dgm:t>
    </dgm:pt>
    <dgm:pt modelId="{ED746933-5052-433A-B668-D479F13424C9}" type="parTrans" cxnId="{EE568325-2E05-4A64-8775-6D3DF56EAD69}">
      <dgm:prSet/>
      <dgm:spPr/>
      <dgm:t>
        <a:bodyPr/>
        <a:lstStyle/>
        <a:p>
          <a:endParaRPr lang="en-US">
            <a:solidFill>
              <a:schemeClr val="bg1"/>
            </a:solidFill>
          </a:endParaRPr>
        </a:p>
      </dgm:t>
    </dgm:pt>
    <dgm:pt modelId="{2C5B2CB5-1DC3-43AE-A3FB-6B3B6F2895AB}" type="sibTrans" cxnId="{EE568325-2E05-4A64-8775-6D3DF56EAD69}">
      <dgm:prSet/>
      <dgm:spPr/>
      <dgm:t>
        <a:bodyPr/>
        <a:lstStyle/>
        <a:p>
          <a:endParaRPr lang="en-US">
            <a:solidFill>
              <a:schemeClr val="bg1"/>
            </a:solidFill>
          </a:endParaRPr>
        </a:p>
      </dgm:t>
    </dgm:pt>
    <dgm:pt modelId="{4A2CFD07-3E84-429F-9BA6-53F9A1310CA6}">
      <dgm:prSet phldrT="[Text]"/>
      <dgm:spPr>
        <a:ln w="38100">
          <a:noFill/>
        </a:ln>
      </dgm:spPr>
      <dgm:t>
        <a:bodyPr/>
        <a:lstStyle/>
        <a:p>
          <a:r>
            <a:rPr lang="en-GB" b="0">
              <a:solidFill>
                <a:schemeClr val="bg1"/>
              </a:solidFill>
            </a:rPr>
            <a:t>Plausibility</a:t>
          </a:r>
          <a:endParaRPr lang="en-US" b="0">
            <a:solidFill>
              <a:schemeClr val="bg1"/>
            </a:solidFill>
          </a:endParaRPr>
        </a:p>
      </dgm:t>
    </dgm:pt>
    <dgm:pt modelId="{60B71066-5B23-43AA-992D-41B619D7EA79}" type="parTrans" cxnId="{887220D9-F0B1-42C1-AFCC-C3109B4844EC}">
      <dgm:prSet/>
      <dgm:spPr/>
      <dgm:t>
        <a:bodyPr/>
        <a:lstStyle/>
        <a:p>
          <a:endParaRPr lang="en-US">
            <a:solidFill>
              <a:schemeClr val="bg1"/>
            </a:solidFill>
          </a:endParaRPr>
        </a:p>
      </dgm:t>
    </dgm:pt>
    <dgm:pt modelId="{B66CCD77-061B-4557-826A-8B6AF211934E}" type="sibTrans" cxnId="{887220D9-F0B1-42C1-AFCC-C3109B4844EC}">
      <dgm:prSet/>
      <dgm:spPr/>
      <dgm:t>
        <a:bodyPr/>
        <a:lstStyle/>
        <a:p>
          <a:endParaRPr lang="en-US">
            <a:solidFill>
              <a:schemeClr val="bg1"/>
            </a:solidFill>
          </a:endParaRPr>
        </a:p>
      </dgm:t>
    </dgm:pt>
    <dgm:pt modelId="{7278B3E4-80E8-4D3C-979C-EEB485C97F80}">
      <dgm:prSet phldrT="[Text]"/>
      <dgm:spPr/>
      <dgm:t>
        <a:bodyPr/>
        <a:lstStyle/>
        <a:p>
          <a:r>
            <a:rPr lang="en-GB">
              <a:solidFill>
                <a:schemeClr val="bg1"/>
              </a:solidFill>
            </a:rPr>
            <a:t>Coherence</a:t>
          </a:r>
          <a:endParaRPr lang="en-US">
            <a:solidFill>
              <a:schemeClr val="bg1"/>
            </a:solidFill>
          </a:endParaRPr>
        </a:p>
      </dgm:t>
    </dgm:pt>
    <dgm:pt modelId="{67F25196-ACEF-4122-A49F-E474E0A03E63}" type="parTrans" cxnId="{E5138051-4A81-43D9-B335-7AE1F3C54BDE}">
      <dgm:prSet/>
      <dgm:spPr/>
      <dgm:t>
        <a:bodyPr/>
        <a:lstStyle/>
        <a:p>
          <a:endParaRPr lang="en-US">
            <a:solidFill>
              <a:schemeClr val="bg1"/>
            </a:solidFill>
          </a:endParaRPr>
        </a:p>
      </dgm:t>
    </dgm:pt>
    <dgm:pt modelId="{36364A0F-EAEF-45E8-8C9D-D02123C0B03B}" type="sibTrans" cxnId="{E5138051-4A81-43D9-B335-7AE1F3C54BDE}">
      <dgm:prSet/>
      <dgm:spPr/>
      <dgm:t>
        <a:bodyPr/>
        <a:lstStyle/>
        <a:p>
          <a:endParaRPr lang="en-US">
            <a:solidFill>
              <a:schemeClr val="bg1"/>
            </a:solidFill>
          </a:endParaRPr>
        </a:p>
      </dgm:t>
    </dgm:pt>
    <dgm:pt modelId="{8980365E-0191-401E-B158-58AC98430A3C}">
      <dgm:prSet phldrT="[Text]"/>
      <dgm:spPr/>
      <dgm:t>
        <a:bodyPr/>
        <a:lstStyle/>
        <a:p>
          <a:r>
            <a:rPr lang="en-GB">
              <a:solidFill>
                <a:schemeClr val="bg1"/>
              </a:solidFill>
            </a:rPr>
            <a:t>Experiment</a:t>
          </a:r>
          <a:endParaRPr lang="en-US">
            <a:solidFill>
              <a:schemeClr val="bg1"/>
            </a:solidFill>
          </a:endParaRPr>
        </a:p>
      </dgm:t>
    </dgm:pt>
    <dgm:pt modelId="{9D32B202-21D0-4065-919D-A290F230184F}" type="parTrans" cxnId="{44DB478B-CF07-4B0E-B445-D98B910E963F}">
      <dgm:prSet/>
      <dgm:spPr/>
      <dgm:t>
        <a:bodyPr/>
        <a:lstStyle/>
        <a:p>
          <a:endParaRPr lang="en-US">
            <a:solidFill>
              <a:schemeClr val="bg1"/>
            </a:solidFill>
          </a:endParaRPr>
        </a:p>
      </dgm:t>
    </dgm:pt>
    <dgm:pt modelId="{A2B2B369-9C92-4B0A-943A-9FC87C784C2D}" type="sibTrans" cxnId="{44DB478B-CF07-4B0E-B445-D98B910E963F}">
      <dgm:prSet/>
      <dgm:spPr/>
      <dgm:t>
        <a:bodyPr/>
        <a:lstStyle/>
        <a:p>
          <a:endParaRPr lang="en-US">
            <a:solidFill>
              <a:schemeClr val="bg1"/>
            </a:solidFill>
          </a:endParaRPr>
        </a:p>
      </dgm:t>
    </dgm:pt>
    <dgm:pt modelId="{86CA051B-43AE-413F-A579-54E6F4D75338}">
      <dgm:prSet phldrT="[Text]"/>
      <dgm:spPr/>
      <dgm:t>
        <a:bodyPr/>
        <a:lstStyle/>
        <a:p>
          <a:r>
            <a:rPr lang="en-GB">
              <a:solidFill>
                <a:schemeClr val="bg1"/>
              </a:solidFill>
            </a:rPr>
            <a:t>Analogy</a:t>
          </a:r>
          <a:endParaRPr lang="en-US">
            <a:solidFill>
              <a:schemeClr val="bg1"/>
            </a:solidFill>
          </a:endParaRPr>
        </a:p>
      </dgm:t>
    </dgm:pt>
    <dgm:pt modelId="{6C2F0F9C-2994-4E4C-BDF9-D706BACBBDA0}" type="parTrans" cxnId="{97808CA4-48F3-4A42-97EB-2FC0AC770790}">
      <dgm:prSet/>
      <dgm:spPr/>
      <dgm:t>
        <a:bodyPr/>
        <a:lstStyle/>
        <a:p>
          <a:endParaRPr lang="en-US">
            <a:solidFill>
              <a:schemeClr val="bg1"/>
            </a:solidFill>
          </a:endParaRPr>
        </a:p>
      </dgm:t>
    </dgm:pt>
    <dgm:pt modelId="{8254ACAD-5278-4857-B0DD-7BC9ED317AC4}" type="sibTrans" cxnId="{97808CA4-48F3-4A42-97EB-2FC0AC770790}">
      <dgm:prSet/>
      <dgm:spPr/>
      <dgm:t>
        <a:bodyPr/>
        <a:lstStyle/>
        <a:p>
          <a:endParaRPr lang="en-US">
            <a:solidFill>
              <a:schemeClr val="bg1"/>
            </a:solidFill>
          </a:endParaRPr>
        </a:p>
      </dgm:t>
    </dgm:pt>
    <dgm:pt modelId="{AB2DC088-3EB1-4D22-A477-F5327AEE4BEA}">
      <dgm:prSet phldrT="[Text]" custT="1"/>
      <dgm:spPr>
        <a:solidFill>
          <a:srgbClr val="5A5A5A">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spcFirstLastPara="0" vert="horz" wrap="square" lIns="41910" tIns="20955" rIns="41910" bIns="20955" numCol="1" spcCol="1270" anchor="ctr" anchorCtr="0"/>
        <a:lstStyle/>
        <a:p>
          <a:pPr marL="0" lvl="0" indent="0" algn="ctr" defTabSz="488950">
            <a:lnSpc>
              <a:spcPct val="90000"/>
            </a:lnSpc>
            <a:spcBef>
              <a:spcPct val="0"/>
            </a:spcBef>
            <a:spcAft>
              <a:spcPct val="35000"/>
            </a:spcAft>
            <a:buNone/>
          </a:pPr>
          <a:r>
            <a:rPr lang="en-GB" sz="1100" kern="1200">
              <a:solidFill>
                <a:srgbClr val="FFFFFF"/>
              </a:solidFill>
              <a:latin typeface="Arial" panose="020B0604020202020204"/>
              <a:ea typeface="+mn-ea"/>
              <a:cs typeface="+mn-cs"/>
            </a:rPr>
            <a:t>Consistency</a:t>
          </a:r>
          <a:endParaRPr lang="en-US" sz="1100" kern="1200">
            <a:solidFill>
              <a:srgbClr val="FFFFFF"/>
            </a:solidFill>
            <a:latin typeface="Arial" panose="020B0604020202020204"/>
            <a:ea typeface="+mn-ea"/>
            <a:cs typeface="+mn-cs"/>
          </a:endParaRPr>
        </a:p>
      </dgm:t>
    </dgm:pt>
    <dgm:pt modelId="{B709ED91-84B0-4C43-976E-58578D620FDA}" type="sibTrans" cxnId="{10BACC50-5BEA-42ED-85D4-60CC19FA08E7}">
      <dgm:prSet/>
      <dgm:spPr/>
      <dgm:t>
        <a:bodyPr/>
        <a:lstStyle/>
        <a:p>
          <a:endParaRPr lang="en-US">
            <a:solidFill>
              <a:schemeClr val="bg1"/>
            </a:solidFill>
          </a:endParaRPr>
        </a:p>
      </dgm:t>
    </dgm:pt>
    <dgm:pt modelId="{FF8ED9F8-D904-4578-A7F0-1C635DDE4D8D}" type="parTrans" cxnId="{10BACC50-5BEA-42ED-85D4-60CC19FA08E7}">
      <dgm:prSet/>
      <dgm:spPr/>
      <dgm:t>
        <a:bodyPr/>
        <a:lstStyle/>
        <a:p>
          <a:endParaRPr lang="en-US">
            <a:solidFill>
              <a:schemeClr val="bg1"/>
            </a:solidFill>
          </a:endParaRPr>
        </a:p>
      </dgm:t>
    </dgm:pt>
    <dgm:pt modelId="{8F231103-0C13-485F-9D1A-D86FC52F8D09}">
      <dgm:prSet phldrT="[Text]"/>
      <dgm:spPr>
        <a:ln w="38100">
          <a:noFill/>
        </a:ln>
      </dgm:spPr>
      <dgm:t>
        <a:bodyPr/>
        <a:lstStyle/>
        <a:p>
          <a:r>
            <a:rPr lang="en-GB" b="0">
              <a:solidFill>
                <a:schemeClr val="bg1"/>
              </a:solidFill>
            </a:rPr>
            <a:t>Dose Response</a:t>
          </a:r>
          <a:endParaRPr lang="en-US" b="0">
            <a:solidFill>
              <a:schemeClr val="bg1"/>
            </a:solidFill>
          </a:endParaRPr>
        </a:p>
      </dgm:t>
    </dgm:pt>
    <dgm:pt modelId="{513F01A9-D5C8-4BD7-8A6F-88EDB0D73833}" type="sibTrans" cxnId="{2108BC03-8C4F-473A-A21D-92BE808A9543}">
      <dgm:prSet/>
      <dgm:spPr/>
      <dgm:t>
        <a:bodyPr/>
        <a:lstStyle/>
        <a:p>
          <a:endParaRPr lang="en-US">
            <a:solidFill>
              <a:schemeClr val="bg1"/>
            </a:solidFill>
          </a:endParaRPr>
        </a:p>
      </dgm:t>
    </dgm:pt>
    <dgm:pt modelId="{06EBA777-12A9-47AD-91DF-C976341160C5}" type="parTrans" cxnId="{2108BC03-8C4F-473A-A21D-92BE808A9543}">
      <dgm:prSet/>
      <dgm:spPr/>
      <dgm:t>
        <a:bodyPr/>
        <a:lstStyle/>
        <a:p>
          <a:endParaRPr lang="en-US">
            <a:solidFill>
              <a:schemeClr val="bg1"/>
            </a:solidFill>
          </a:endParaRPr>
        </a:p>
      </dgm:t>
    </dgm:pt>
    <dgm:pt modelId="{4834CF74-EBF7-432A-9AAD-FD68ED3E071F}">
      <dgm:prSet phldrT="[Text]"/>
      <dgm:spPr>
        <a:ln w="38100">
          <a:noFill/>
        </a:ln>
      </dgm:spPr>
      <dgm:t>
        <a:bodyPr/>
        <a:lstStyle/>
        <a:p>
          <a:r>
            <a:rPr lang="en-GB" b="0">
              <a:solidFill>
                <a:schemeClr val="bg1"/>
              </a:solidFill>
            </a:rPr>
            <a:t>Temporal Sequence</a:t>
          </a:r>
          <a:endParaRPr lang="en-US" b="0">
            <a:solidFill>
              <a:schemeClr val="bg1"/>
            </a:solidFill>
          </a:endParaRPr>
        </a:p>
      </dgm:t>
    </dgm:pt>
    <dgm:pt modelId="{93654158-05CA-408E-A158-303DC976E57A}" type="sibTrans" cxnId="{42983A17-14A8-49DB-B0B2-7FC356D1A9A0}">
      <dgm:prSet/>
      <dgm:spPr/>
      <dgm:t>
        <a:bodyPr/>
        <a:lstStyle/>
        <a:p>
          <a:endParaRPr lang="en-US">
            <a:solidFill>
              <a:schemeClr val="bg1"/>
            </a:solidFill>
          </a:endParaRPr>
        </a:p>
      </dgm:t>
    </dgm:pt>
    <dgm:pt modelId="{FABA97C4-E39A-4BD9-8256-8603841BCE7C}" type="parTrans" cxnId="{42983A17-14A8-49DB-B0B2-7FC356D1A9A0}">
      <dgm:prSet/>
      <dgm:spPr/>
      <dgm:t>
        <a:bodyPr/>
        <a:lstStyle/>
        <a:p>
          <a:endParaRPr lang="en-US">
            <a:solidFill>
              <a:schemeClr val="bg1"/>
            </a:solidFill>
          </a:endParaRPr>
        </a:p>
      </dgm:t>
    </dgm:pt>
    <dgm:pt modelId="{8FFE35CC-EAEA-46D1-B7DA-C4124E00DF8B}" type="pres">
      <dgm:prSet presAssocID="{F63695A9-779D-4AA4-ACE0-4FE6DACD5982}" presName="Name0" presStyleCnt="0">
        <dgm:presLayoutVars>
          <dgm:dir/>
          <dgm:animLvl val="lvl"/>
          <dgm:resizeHandles val="exact"/>
        </dgm:presLayoutVars>
      </dgm:prSet>
      <dgm:spPr/>
    </dgm:pt>
    <dgm:pt modelId="{D2F21437-E3BA-424C-99A4-8389DD395055}" type="pres">
      <dgm:prSet presAssocID="{CD86FBBE-13F4-443A-965A-B2A247A877B2}" presName="linNode" presStyleCnt="0"/>
      <dgm:spPr/>
    </dgm:pt>
    <dgm:pt modelId="{4F47FE6C-1439-4932-BA51-3FB58BF75827}" type="pres">
      <dgm:prSet presAssocID="{CD86FBBE-13F4-443A-965A-B2A247A877B2}" presName="parentText" presStyleLbl="node1" presStyleIdx="0" presStyleCnt="9">
        <dgm:presLayoutVars>
          <dgm:chMax val="1"/>
          <dgm:bulletEnabled val="1"/>
        </dgm:presLayoutVars>
      </dgm:prSet>
      <dgm:spPr/>
    </dgm:pt>
    <dgm:pt modelId="{98059805-6138-4CF6-855C-45823938019B}" type="pres">
      <dgm:prSet presAssocID="{1AAE8E90-5D89-432B-94C7-5D84C2403D0C}" presName="sp" presStyleCnt="0"/>
      <dgm:spPr/>
    </dgm:pt>
    <dgm:pt modelId="{5162C6D6-4862-41EE-8DB0-DB33428A79E7}" type="pres">
      <dgm:prSet presAssocID="{AB2DC088-3EB1-4D22-A477-F5327AEE4BEA}" presName="linNode" presStyleCnt="0"/>
      <dgm:spPr/>
    </dgm:pt>
    <dgm:pt modelId="{14161662-B481-4CD2-910A-7A583650504D}" type="pres">
      <dgm:prSet presAssocID="{AB2DC088-3EB1-4D22-A477-F5327AEE4BEA}" presName="parentText" presStyleLbl="node1" presStyleIdx="1" presStyleCnt="9">
        <dgm:presLayoutVars>
          <dgm:chMax val="1"/>
          <dgm:bulletEnabled val="1"/>
        </dgm:presLayoutVars>
      </dgm:prSet>
      <dgm:spPr>
        <a:xfrm>
          <a:off x="1173993" y="391706"/>
          <a:ext cx="1320742" cy="372118"/>
        </a:xfrm>
        <a:prstGeom prst="roundRect">
          <a:avLst/>
        </a:prstGeom>
      </dgm:spPr>
    </dgm:pt>
    <dgm:pt modelId="{B6C221FD-DE2E-4736-BAC6-2A8C658870DC}" type="pres">
      <dgm:prSet presAssocID="{B709ED91-84B0-4C43-976E-58578D620FDA}" presName="sp" presStyleCnt="0"/>
      <dgm:spPr/>
    </dgm:pt>
    <dgm:pt modelId="{87F064C8-D7D6-4D3F-9CEA-35066576D756}" type="pres">
      <dgm:prSet presAssocID="{1137FFF1-F27D-4D79-8C16-960356A819F8}" presName="linNode" presStyleCnt="0"/>
      <dgm:spPr/>
    </dgm:pt>
    <dgm:pt modelId="{5EC10527-7FF6-4F77-B1B8-7123B6743B50}" type="pres">
      <dgm:prSet presAssocID="{1137FFF1-F27D-4D79-8C16-960356A819F8}" presName="parentText" presStyleLbl="node1" presStyleIdx="2" presStyleCnt="9">
        <dgm:presLayoutVars>
          <dgm:chMax val="1"/>
          <dgm:bulletEnabled val="1"/>
        </dgm:presLayoutVars>
      </dgm:prSet>
      <dgm:spPr/>
    </dgm:pt>
    <dgm:pt modelId="{3C1CB524-D413-44C6-978A-F26DB26A648C}" type="pres">
      <dgm:prSet presAssocID="{2C5B2CB5-1DC3-43AE-A3FB-6B3B6F2895AB}" presName="sp" presStyleCnt="0"/>
      <dgm:spPr/>
    </dgm:pt>
    <dgm:pt modelId="{E8D11D1B-50DA-422C-B05D-FAB1E680A3A7}" type="pres">
      <dgm:prSet presAssocID="{4834CF74-EBF7-432A-9AAD-FD68ED3E071F}" presName="linNode" presStyleCnt="0"/>
      <dgm:spPr/>
    </dgm:pt>
    <dgm:pt modelId="{961A080B-AECE-4BB1-BA79-8E1BBA779902}" type="pres">
      <dgm:prSet presAssocID="{4834CF74-EBF7-432A-9AAD-FD68ED3E071F}" presName="parentText" presStyleLbl="node1" presStyleIdx="3" presStyleCnt="9">
        <dgm:presLayoutVars>
          <dgm:chMax val="1"/>
          <dgm:bulletEnabled val="1"/>
        </dgm:presLayoutVars>
      </dgm:prSet>
      <dgm:spPr/>
    </dgm:pt>
    <dgm:pt modelId="{9EC65052-EA02-44BA-942B-6AC17B83330D}" type="pres">
      <dgm:prSet presAssocID="{93654158-05CA-408E-A158-303DC976E57A}" presName="sp" presStyleCnt="0"/>
      <dgm:spPr/>
    </dgm:pt>
    <dgm:pt modelId="{3CDA2A77-51F0-4ACE-8109-39F2A42E5E2C}" type="pres">
      <dgm:prSet presAssocID="{8F231103-0C13-485F-9D1A-D86FC52F8D09}" presName="linNode" presStyleCnt="0"/>
      <dgm:spPr/>
    </dgm:pt>
    <dgm:pt modelId="{17B65380-8FCD-42F2-B460-FA1E73FC6628}" type="pres">
      <dgm:prSet presAssocID="{8F231103-0C13-485F-9D1A-D86FC52F8D09}" presName="parentText" presStyleLbl="node1" presStyleIdx="4" presStyleCnt="9">
        <dgm:presLayoutVars>
          <dgm:chMax val="1"/>
          <dgm:bulletEnabled val="1"/>
        </dgm:presLayoutVars>
      </dgm:prSet>
      <dgm:spPr/>
    </dgm:pt>
    <dgm:pt modelId="{51F0C010-F110-40D2-8F7C-D74469A42F42}" type="pres">
      <dgm:prSet presAssocID="{513F01A9-D5C8-4BD7-8A6F-88EDB0D73833}" presName="sp" presStyleCnt="0"/>
      <dgm:spPr/>
    </dgm:pt>
    <dgm:pt modelId="{67616111-F8AF-4563-B218-019DE814CA8F}" type="pres">
      <dgm:prSet presAssocID="{4A2CFD07-3E84-429F-9BA6-53F9A1310CA6}" presName="linNode" presStyleCnt="0"/>
      <dgm:spPr/>
    </dgm:pt>
    <dgm:pt modelId="{527CED27-6731-406D-91C7-6C9D625FBD78}" type="pres">
      <dgm:prSet presAssocID="{4A2CFD07-3E84-429F-9BA6-53F9A1310CA6}" presName="parentText" presStyleLbl="node1" presStyleIdx="5" presStyleCnt="9">
        <dgm:presLayoutVars>
          <dgm:chMax val="1"/>
          <dgm:bulletEnabled val="1"/>
        </dgm:presLayoutVars>
      </dgm:prSet>
      <dgm:spPr/>
    </dgm:pt>
    <dgm:pt modelId="{E26C965A-3561-42DC-8AC5-18130E5044B1}" type="pres">
      <dgm:prSet presAssocID="{B66CCD77-061B-4557-826A-8B6AF211934E}" presName="sp" presStyleCnt="0"/>
      <dgm:spPr/>
    </dgm:pt>
    <dgm:pt modelId="{F32B678B-BC3D-4305-A3F3-4864CD84E07B}" type="pres">
      <dgm:prSet presAssocID="{7278B3E4-80E8-4D3C-979C-EEB485C97F80}" presName="linNode" presStyleCnt="0"/>
      <dgm:spPr/>
    </dgm:pt>
    <dgm:pt modelId="{ACD14CC5-D281-4D19-BEFB-739A61B37521}" type="pres">
      <dgm:prSet presAssocID="{7278B3E4-80E8-4D3C-979C-EEB485C97F80}" presName="parentText" presStyleLbl="node1" presStyleIdx="6" presStyleCnt="9">
        <dgm:presLayoutVars>
          <dgm:chMax val="1"/>
          <dgm:bulletEnabled val="1"/>
        </dgm:presLayoutVars>
      </dgm:prSet>
      <dgm:spPr/>
    </dgm:pt>
    <dgm:pt modelId="{658310C1-794E-47C6-9070-A534B585196E}" type="pres">
      <dgm:prSet presAssocID="{36364A0F-EAEF-45E8-8C9D-D02123C0B03B}" presName="sp" presStyleCnt="0"/>
      <dgm:spPr/>
    </dgm:pt>
    <dgm:pt modelId="{823B738A-B0A8-4A35-AEF2-959E9C9CD8D5}" type="pres">
      <dgm:prSet presAssocID="{8980365E-0191-401E-B158-58AC98430A3C}" presName="linNode" presStyleCnt="0"/>
      <dgm:spPr/>
    </dgm:pt>
    <dgm:pt modelId="{826396C2-F98D-41E2-A628-3973B68FF48F}" type="pres">
      <dgm:prSet presAssocID="{8980365E-0191-401E-B158-58AC98430A3C}" presName="parentText" presStyleLbl="node1" presStyleIdx="7" presStyleCnt="9">
        <dgm:presLayoutVars>
          <dgm:chMax val="1"/>
          <dgm:bulletEnabled val="1"/>
        </dgm:presLayoutVars>
      </dgm:prSet>
      <dgm:spPr/>
    </dgm:pt>
    <dgm:pt modelId="{864CBDB3-6089-447F-8FB0-63D8D5CFB1AE}" type="pres">
      <dgm:prSet presAssocID="{A2B2B369-9C92-4B0A-943A-9FC87C784C2D}" presName="sp" presStyleCnt="0"/>
      <dgm:spPr/>
    </dgm:pt>
    <dgm:pt modelId="{D5E2A929-6C25-4417-98E2-639FC301F873}" type="pres">
      <dgm:prSet presAssocID="{86CA051B-43AE-413F-A579-54E6F4D75338}" presName="linNode" presStyleCnt="0"/>
      <dgm:spPr/>
    </dgm:pt>
    <dgm:pt modelId="{DB96DB80-E364-4910-A3CA-37415552AF12}" type="pres">
      <dgm:prSet presAssocID="{86CA051B-43AE-413F-A579-54E6F4D75338}" presName="parentText" presStyleLbl="node1" presStyleIdx="8" presStyleCnt="9">
        <dgm:presLayoutVars>
          <dgm:chMax val="1"/>
          <dgm:bulletEnabled val="1"/>
        </dgm:presLayoutVars>
      </dgm:prSet>
      <dgm:spPr/>
    </dgm:pt>
  </dgm:ptLst>
  <dgm:cxnLst>
    <dgm:cxn modelId="{2108BC03-8C4F-473A-A21D-92BE808A9543}" srcId="{F63695A9-779D-4AA4-ACE0-4FE6DACD5982}" destId="{8F231103-0C13-485F-9D1A-D86FC52F8D09}" srcOrd="4" destOrd="0" parTransId="{06EBA777-12A9-47AD-91DF-C976341160C5}" sibTransId="{513F01A9-D5C8-4BD7-8A6F-88EDB0D73833}"/>
    <dgm:cxn modelId="{93AAB405-ACD0-4604-9294-DD6596EC1E2E}" type="presOf" srcId="{AB2DC088-3EB1-4D22-A477-F5327AEE4BEA}" destId="{14161662-B481-4CD2-910A-7A583650504D}" srcOrd="0" destOrd="0" presId="urn:microsoft.com/office/officeart/2005/8/layout/vList5"/>
    <dgm:cxn modelId="{42983A17-14A8-49DB-B0B2-7FC356D1A9A0}" srcId="{F63695A9-779D-4AA4-ACE0-4FE6DACD5982}" destId="{4834CF74-EBF7-432A-9AAD-FD68ED3E071F}" srcOrd="3" destOrd="0" parTransId="{FABA97C4-E39A-4BD9-8256-8603841BCE7C}" sibTransId="{93654158-05CA-408E-A158-303DC976E57A}"/>
    <dgm:cxn modelId="{D8DADD17-88CB-44DB-98C1-2ED7FDB58906}" type="presOf" srcId="{8980365E-0191-401E-B158-58AC98430A3C}" destId="{826396C2-F98D-41E2-A628-3973B68FF48F}" srcOrd="0" destOrd="0" presId="urn:microsoft.com/office/officeart/2005/8/layout/vList5"/>
    <dgm:cxn modelId="{EE568325-2E05-4A64-8775-6D3DF56EAD69}" srcId="{F63695A9-779D-4AA4-ACE0-4FE6DACD5982}" destId="{1137FFF1-F27D-4D79-8C16-960356A819F8}" srcOrd="2" destOrd="0" parTransId="{ED746933-5052-433A-B668-D479F13424C9}" sibTransId="{2C5B2CB5-1DC3-43AE-A3FB-6B3B6F2895AB}"/>
    <dgm:cxn modelId="{64875648-098C-4F4B-A759-9D42BAF52884}" type="presOf" srcId="{1137FFF1-F27D-4D79-8C16-960356A819F8}" destId="{5EC10527-7FF6-4F77-B1B8-7123B6743B50}" srcOrd="0" destOrd="0" presId="urn:microsoft.com/office/officeart/2005/8/layout/vList5"/>
    <dgm:cxn modelId="{37DC746B-AFBE-42F0-B01B-EA787D499443}" type="presOf" srcId="{7278B3E4-80E8-4D3C-979C-EEB485C97F80}" destId="{ACD14CC5-D281-4D19-BEFB-739A61B37521}" srcOrd="0" destOrd="0" presId="urn:microsoft.com/office/officeart/2005/8/layout/vList5"/>
    <dgm:cxn modelId="{9A30146F-4B52-4F89-A194-7421E6FC675E}" type="presOf" srcId="{CD86FBBE-13F4-443A-965A-B2A247A877B2}" destId="{4F47FE6C-1439-4932-BA51-3FB58BF75827}" srcOrd="0" destOrd="0" presId="urn:microsoft.com/office/officeart/2005/8/layout/vList5"/>
    <dgm:cxn modelId="{10BACC50-5BEA-42ED-85D4-60CC19FA08E7}" srcId="{F63695A9-779D-4AA4-ACE0-4FE6DACD5982}" destId="{AB2DC088-3EB1-4D22-A477-F5327AEE4BEA}" srcOrd="1" destOrd="0" parTransId="{FF8ED9F8-D904-4578-A7F0-1C635DDE4D8D}" sibTransId="{B709ED91-84B0-4C43-976E-58578D620FDA}"/>
    <dgm:cxn modelId="{E5138051-4A81-43D9-B335-7AE1F3C54BDE}" srcId="{F63695A9-779D-4AA4-ACE0-4FE6DACD5982}" destId="{7278B3E4-80E8-4D3C-979C-EEB485C97F80}" srcOrd="6" destOrd="0" parTransId="{67F25196-ACEF-4122-A49F-E474E0A03E63}" sibTransId="{36364A0F-EAEF-45E8-8C9D-D02123C0B03B}"/>
    <dgm:cxn modelId="{A077CC71-D043-4163-984B-DA66B4993FC1}" type="presOf" srcId="{F63695A9-779D-4AA4-ACE0-4FE6DACD5982}" destId="{8FFE35CC-EAEA-46D1-B7DA-C4124E00DF8B}" srcOrd="0" destOrd="0" presId="urn:microsoft.com/office/officeart/2005/8/layout/vList5"/>
    <dgm:cxn modelId="{44DB478B-CF07-4B0E-B445-D98B910E963F}" srcId="{F63695A9-779D-4AA4-ACE0-4FE6DACD5982}" destId="{8980365E-0191-401E-B158-58AC98430A3C}" srcOrd="7" destOrd="0" parTransId="{9D32B202-21D0-4065-919D-A290F230184F}" sibTransId="{A2B2B369-9C92-4B0A-943A-9FC87C784C2D}"/>
    <dgm:cxn modelId="{0901828E-1B09-4F78-BC8E-2E53650436B4}" type="presOf" srcId="{8F231103-0C13-485F-9D1A-D86FC52F8D09}" destId="{17B65380-8FCD-42F2-B460-FA1E73FC6628}" srcOrd="0" destOrd="0" presId="urn:microsoft.com/office/officeart/2005/8/layout/vList5"/>
    <dgm:cxn modelId="{97808CA4-48F3-4A42-97EB-2FC0AC770790}" srcId="{F63695A9-779D-4AA4-ACE0-4FE6DACD5982}" destId="{86CA051B-43AE-413F-A579-54E6F4D75338}" srcOrd="8" destOrd="0" parTransId="{6C2F0F9C-2994-4E4C-BDF9-D706BACBBDA0}" sibTransId="{8254ACAD-5278-4857-B0DD-7BC9ED317AC4}"/>
    <dgm:cxn modelId="{8C8FD0B1-49C8-4226-B1E9-6F6A07A1ADCF}" srcId="{F63695A9-779D-4AA4-ACE0-4FE6DACD5982}" destId="{CD86FBBE-13F4-443A-965A-B2A247A877B2}" srcOrd="0" destOrd="0" parTransId="{5437BF98-3871-4E2E-965A-2C5C7C7DB7CC}" sibTransId="{1AAE8E90-5D89-432B-94C7-5D84C2403D0C}"/>
    <dgm:cxn modelId="{5FCF65B5-5DC8-40B3-9D9A-DD8F7240EE7C}" type="presOf" srcId="{86CA051B-43AE-413F-A579-54E6F4D75338}" destId="{DB96DB80-E364-4910-A3CA-37415552AF12}" srcOrd="0" destOrd="0" presId="urn:microsoft.com/office/officeart/2005/8/layout/vList5"/>
    <dgm:cxn modelId="{1ED612BE-D18C-4E7E-A990-8AD1FEBE53B9}" type="presOf" srcId="{4834CF74-EBF7-432A-9AAD-FD68ED3E071F}" destId="{961A080B-AECE-4BB1-BA79-8E1BBA779902}" srcOrd="0" destOrd="0" presId="urn:microsoft.com/office/officeart/2005/8/layout/vList5"/>
    <dgm:cxn modelId="{CABED4C7-839E-45EF-B634-4DBB432AE3DD}" type="presOf" srcId="{4A2CFD07-3E84-429F-9BA6-53F9A1310CA6}" destId="{527CED27-6731-406D-91C7-6C9D625FBD78}" srcOrd="0" destOrd="0" presId="urn:microsoft.com/office/officeart/2005/8/layout/vList5"/>
    <dgm:cxn modelId="{887220D9-F0B1-42C1-AFCC-C3109B4844EC}" srcId="{F63695A9-779D-4AA4-ACE0-4FE6DACD5982}" destId="{4A2CFD07-3E84-429F-9BA6-53F9A1310CA6}" srcOrd="5" destOrd="0" parTransId="{60B71066-5B23-43AA-992D-41B619D7EA79}" sibTransId="{B66CCD77-061B-4557-826A-8B6AF211934E}"/>
    <dgm:cxn modelId="{1F02D045-6FCD-4BE7-B70D-671F6612B9AF}" type="presParOf" srcId="{8FFE35CC-EAEA-46D1-B7DA-C4124E00DF8B}" destId="{D2F21437-E3BA-424C-99A4-8389DD395055}" srcOrd="0" destOrd="0" presId="urn:microsoft.com/office/officeart/2005/8/layout/vList5"/>
    <dgm:cxn modelId="{CA0547B0-F8E9-4896-B22C-AD432CF61EA1}" type="presParOf" srcId="{D2F21437-E3BA-424C-99A4-8389DD395055}" destId="{4F47FE6C-1439-4932-BA51-3FB58BF75827}" srcOrd="0" destOrd="0" presId="urn:microsoft.com/office/officeart/2005/8/layout/vList5"/>
    <dgm:cxn modelId="{6B1CF59A-22B8-4337-A88D-6853D66F07D0}" type="presParOf" srcId="{8FFE35CC-EAEA-46D1-B7DA-C4124E00DF8B}" destId="{98059805-6138-4CF6-855C-45823938019B}" srcOrd="1" destOrd="0" presId="urn:microsoft.com/office/officeart/2005/8/layout/vList5"/>
    <dgm:cxn modelId="{89547000-30A6-4A77-93CC-376EAC88E319}" type="presParOf" srcId="{8FFE35CC-EAEA-46D1-B7DA-C4124E00DF8B}" destId="{5162C6D6-4862-41EE-8DB0-DB33428A79E7}" srcOrd="2" destOrd="0" presId="urn:microsoft.com/office/officeart/2005/8/layout/vList5"/>
    <dgm:cxn modelId="{62925482-587B-45D3-B28E-327029EEFF0F}" type="presParOf" srcId="{5162C6D6-4862-41EE-8DB0-DB33428A79E7}" destId="{14161662-B481-4CD2-910A-7A583650504D}" srcOrd="0" destOrd="0" presId="urn:microsoft.com/office/officeart/2005/8/layout/vList5"/>
    <dgm:cxn modelId="{52407540-F9C5-4F00-8014-284E146478FE}" type="presParOf" srcId="{8FFE35CC-EAEA-46D1-B7DA-C4124E00DF8B}" destId="{B6C221FD-DE2E-4736-BAC6-2A8C658870DC}" srcOrd="3" destOrd="0" presId="urn:microsoft.com/office/officeart/2005/8/layout/vList5"/>
    <dgm:cxn modelId="{FE1A7CBE-6316-4F9E-9411-DD140694969E}" type="presParOf" srcId="{8FFE35CC-EAEA-46D1-B7DA-C4124E00DF8B}" destId="{87F064C8-D7D6-4D3F-9CEA-35066576D756}" srcOrd="4" destOrd="0" presId="urn:microsoft.com/office/officeart/2005/8/layout/vList5"/>
    <dgm:cxn modelId="{92AA681D-ED5C-46D3-A953-D45AA75B7EB5}" type="presParOf" srcId="{87F064C8-D7D6-4D3F-9CEA-35066576D756}" destId="{5EC10527-7FF6-4F77-B1B8-7123B6743B50}" srcOrd="0" destOrd="0" presId="urn:microsoft.com/office/officeart/2005/8/layout/vList5"/>
    <dgm:cxn modelId="{1D3846EC-F963-42EE-B867-22130AEDC5B3}" type="presParOf" srcId="{8FFE35CC-EAEA-46D1-B7DA-C4124E00DF8B}" destId="{3C1CB524-D413-44C6-978A-F26DB26A648C}" srcOrd="5" destOrd="0" presId="urn:microsoft.com/office/officeart/2005/8/layout/vList5"/>
    <dgm:cxn modelId="{60F2E167-1B48-417B-9FF7-03829106F322}" type="presParOf" srcId="{8FFE35CC-EAEA-46D1-B7DA-C4124E00DF8B}" destId="{E8D11D1B-50DA-422C-B05D-FAB1E680A3A7}" srcOrd="6" destOrd="0" presId="urn:microsoft.com/office/officeart/2005/8/layout/vList5"/>
    <dgm:cxn modelId="{C529A56D-18B0-40C8-A541-DF3846394323}" type="presParOf" srcId="{E8D11D1B-50DA-422C-B05D-FAB1E680A3A7}" destId="{961A080B-AECE-4BB1-BA79-8E1BBA779902}" srcOrd="0" destOrd="0" presId="urn:microsoft.com/office/officeart/2005/8/layout/vList5"/>
    <dgm:cxn modelId="{F10215B3-5D4A-4D01-9AA4-2425A92F63B8}" type="presParOf" srcId="{8FFE35CC-EAEA-46D1-B7DA-C4124E00DF8B}" destId="{9EC65052-EA02-44BA-942B-6AC17B83330D}" srcOrd="7" destOrd="0" presId="urn:microsoft.com/office/officeart/2005/8/layout/vList5"/>
    <dgm:cxn modelId="{2BCBF0C4-7E60-4F90-9AD6-95076ED58D88}" type="presParOf" srcId="{8FFE35CC-EAEA-46D1-B7DA-C4124E00DF8B}" destId="{3CDA2A77-51F0-4ACE-8109-39F2A42E5E2C}" srcOrd="8" destOrd="0" presId="urn:microsoft.com/office/officeart/2005/8/layout/vList5"/>
    <dgm:cxn modelId="{FD2FDA28-4678-46F4-8C07-BFBA9A02973D}" type="presParOf" srcId="{3CDA2A77-51F0-4ACE-8109-39F2A42E5E2C}" destId="{17B65380-8FCD-42F2-B460-FA1E73FC6628}" srcOrd="0" destOrd="0" presId="urn:microsoft.com/office/officeart/2005/8/layout/vList5"/>
    <dgm:cxn modelId="{EA933431-F4A8-4C71-A6CA-93604A078F2D}" type="presParOf" srcId="{8FFE35CC-EAEA-46D1-B7DA-C4124E00DF8B}" destId="{51F0C010-F110-40D2-8F7C-D74469A42F42}" srcOrd="9" destOrd="0" presId="urn:microsoft.com/office/officeart/2005/8/layout/vList5"/>
    <dgm:cxn modelId="{97731551-A3C9-4B08-A777-216EA8A9D050}" type="presParOf" srcId="{8FFE35CC-EAEA-46D1-B7DA-C4124E00DF8B}" destId="{67616111-F8AF-4563-B218-019DE814CA8F}" srcOrd="10" destOrd="0" presId="urn:microsoft.com/office/officeart/2005/8/layout/vList5"/>
    <dgm:cxn modelId="{E50D2023-CFA1-4D3B-B324-9CF340CF56E7}" type="presParOf" srcId="{67616111-F8AF-4563-B218-019DE814CA8F}" destId="{527CED27-6731-406D-91C7-6C9D625FBD78}" srcOrd="0" destOrd="0" presId="urn:microsoft.com/office/officeart/2005/8/layout/vList5"/>
    <dgm:cxn modelId="{319F7109-F968-44D9-A5AE-3E551F9910E2}" type="presParOf" srcId="{8FFE35CC-EAEA-46D1-B7DA-C4124E00DF8B}" destId="{E26C965A-3561-42DC-8AC5-18130E5044B1}" srcOrd="11" destOrd="0" presId="urn:microsoft.com/office/officeart/2005/8/layout/vList5"/>
    <dgm:cxn modelId="{C361ACA7-329E-47A6-9041-81793CF108E7}" type="presParOf" srcId="{8FFE35CC-EAEA-46D1-B7DA-C4124E00DF8B}" destId="{F32B678B-BC3D-4305-A3F3-4864CD84E07B}" srcOrd="12" destOrd="0" presId="urn:microsoft.com/office/officeart/2005/8/layout/vList5"/>
    <dgm:cxn modelId="{4A47EE67-9831-4A0B-9726-D9CAB9B5E322}" type="presParOf" srcId="{F32B678B-BC3D-4305-A3F3-4864CD84E07B}" destId="{ACD14CC5-D281-4D19-BEFB-739A61B37521}" srcOrd="0" destOrd="0" presId="urn:microsoft.com/office/officeart/2005/8/layout/vList5"/>
    <dgm:cxn modelId="{8DCCD6AB-2138-4B23-8D23-6E0D9F5A86CB}" type="presParOf" srcId="{8FFE35CC-EAEA-46D1-B7DA-C4124E00DF8B}" destId="{658310C1-794E-47C6-9070-A534B585196E}" srcOrd="13" destOrd="0" presId="urn:microsoft.com/office/officeart/2005/8/layout/vList5"/>
    <dgm:cxn modelId="{578D280E-1CDB-4D06-A1C2-CCDD6ACD4D94}" type="presParOf" srcId="{8FFE35CC-EAEA-46D1-B7DA-C4124E00DF8B}" destId="{823B738A-B0A8-4A35-AEF2-959E9C9CD8D5}" srcOrd="14" destOrd="0" presId="urn:microsoft.com/office/officeart/2005/8/layout/vList5"/>
    <dgm:cxn modelId="{D8B6E7C3-EFFE-48E4-A624-2AFC66C9F3B5}" type="presParOf" srcId="{823B738A-B0A8-4A35-AEF2-959E9C9CD8D5}" destId="{826396C2-F98D-41E2-A628-3973B68FF48F}" srcOrd="0" destOrd="0" presId="urn:microsoft.com/office/officeart/2005/8/layout/vList5"/>
    <dgm:cxn modelId="{76231375-4AAA-45F7-BEC5-8D3E2CC03AC8}" type="presParOf" srcId="{8FFE35CC-EAEA-46D1-B7DA-C4124E00DF8B}" destId="{864CBDB3-6089-447F-8FB0-63D8D5CFB1AE}" srcOrd="15" destOrd="0" presId="urn:microsoft.com/office/officeart/2005/8/layout/vList5"/>
    <dgm:cxn modelId="{5335B794-51B7-47D5-88DC-A41FABC5A5B9}" type="presParOf" srcId="{8FFE35CC-EAEA-46D1-B7DA-C4124E00DF8B}" destId="{D5E2A929-6C25-4417-98E2-639FC301F873}" srcOrd="16" destOrd="0" presId="urn:microsoft.com/office/officeart/2005/8/layout/vList5"/>
    <dgm:cxn modelId="{9BAF7FE6-A992-4DE0-BA13-27DAF969F6E5}" type="presParOf" srcId="{D5E2A929-6C25-4417-98E2-639FC301F873}" destId="{DB96DB80-E364-4910-A3CA-37415552AF12}" srcOrd="0"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50B520-5B25-4ABD-A71E-F23D8B27F856}">
      <dsp:nvSpPr>
        <dsp:cNvPr id="0" name=""/>
        <dsp:cNvSpPr/>
      </dsp:nvSpPr>
      <dsp:spPr>
        <a:xfrm>
          <a:off x="6898601" y="4404258"/>
          <a:ext cx="299615" cy="644174"/>
        </a:xfrm>
        <a:custGeom>
          <a:avLst/>
          <a:gdLst/>
          <a:ahLst/>
          <a:cxnLst/>
          <a:rect l="0" t="0" r="0" b="0"/>
          <a:pathLst>
            <a:path>
              <a:moveTo>
                <a:pt x="0" y="0"/>
              </a:moveTo>
              <a:lnTo>
                <a:pt x="149807" y="0"/>
              </a:lnTo>
              <a:lnTo>
                <a:pt x="149807" y="644174"/>
              </a:lnTo>
              <a:lnTo>
                <a:pt x="299615" y="644174"/>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F91D5B4-8DAD-4093-B5CB-0FBAA60B35C0}">
      <dsp:nvSpPr>
        <dsp:cNvPr id="0" name=""/>
        <dsp:cNvSpPr/>
      </dsp:nvSpPr>
      <dsp:spPr>
        <a:xfrm>
          <a:off x="6898601" y="4358538"/>
          <a:ext cx="299615" cy="91440"/>
        </a:xfrm>
        <a:custGeom>
          <a:avLst/>
          <a:gdLst/>
          <a:ahLst/>
          <a:cxnLst/>
          <a:rect l="0" t="0" r="0" b="0"/>
          <a:pathLst>
            <a:path>
              <a:moveTo>
                <a:pt x="0" y="45720"/>
              </a:moveTo>
              <a:lnTo>
                <a:pt x="299615" y="45720"/>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4E33528-0E25-462C-8583-7EBD74CA3350}">
      <dsp:nvSpPr>
        <dsp:cNvPr id="0" name=""/>
        <dsp:cNvSpPr/>
      </dsp:nvSpPr>
      <dsp:spPr>
        <a:xfrm>
          <a:off x="6898601" y="3760084"/>
          <a:ext cx="299615" cy="644174"/>
        </a:xfrm>
        <a:custGeom>
          <a:avLst/>
          <a:gdLst/>
          <a:ahLst/>
          <a:cxnLst/>
          <a:rect l="0" t="0" r="0" b="0"/>
          <a:pathLst>
            <a:path>
              <a:moveTo>
                <a:pt x="0" y="644174"/>
              </a:moveTo>
              <a:lnTo>
                <a:pt x="149807" y="644174"/>
              </a:lnTo>
              <a:lnTo>
                <a:pt x="149807" y="0"/>
              </a:lnTo>
              <a:lnTo>
                <a:pt x="299615" y="0"/>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686DC09-A8A1-4D02-AD60-EDAA77E01BC0}">
      <dsp:nvSpPr>
        <dsp:cNvPr id="0" name=""/>
        <dsp:cNvSpPr/>
      </dsp:nvSpPr>
      <dsp:spPr>
        <a:xfrm>
          <a:off x="5100906" y="3760084"/>
          <a:ext cx="299615" cy="644174"/>
        </a:xfrm>
        <a:custGeom>
          <a:avLst/>
          <a:gdLst/>
          <a:ahLst/>
          <a:cxnLst/>
          <a:rect l="0" t="0" r="0" b="0"/>
          <a:pathLst>
            <a:path>
              <a:moveTo>
                <a:pt x="0" y="0"/>
              </a:moveTo>
              <a:lnTo>
                <a:pt x="149807" y="0"/>
              </a:lnTo>
              <a:lnTo>
                <a:pt x="149807" y="644174"/>
              </a:lnTo>
              <a:lnTo>
                <a:pt x="299615" y="644174"/>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8E084AD-E82C-480F-849F-657BB88321E3}">
      <dsp:nvSpPr>
        <dsp:cNvPr id="0" name=""/>
        <dsp:cNvSpPr/>
      </dsp:nvSpPr>
      <dsp:spPr>
        <a:xfrm>
          <a:off x="6898601" y="3070190"/>
          <a:ext cx="299615" cy="91440"/>
        </a:xfrm>
        <a:custGeom>
          <a:avLst/>
          <a:gdLst/>
          <a:ahLst/>
          <a:cxnLst/>
          <a:rect l="0" t="0" r="0" b="0"/>
          <a:pathLst>
            <a:path>
              <a:moveTo>
                <a:pt x="0" y="45720"/>
              </a:moveTo>
              <a:lnTo>
                <a:pt x="299615" y="45720"/>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52363DA-934D-4465-B522-960A09890B90}">
      <dsp:nvSpPr>
        <dsp:cNvPr id="0" name=""/>
        <dsp:cNvSpPr/>
      </dsp:nvSpPr>
      <dsp:spPr>
        <a:xfrm>
          <a:off x="5100906" y="3115910"/>
          <a:ext cx="299615" cy="644174"/>
        </a:xfrm>
        <a:custGeom>
          <a:avLst/>
          <a:gdLst/>
          <a:ahLst/>
          <a:cxnLst/>
          <a:rect l="0" t="0" r="0" b="0"/>
          <a:pathLst>
            <a:path>
              <a:moveTo>
                <a:pt x="0" y="644174"/>
              </a:moveTo>
              <a:lnTo>
                <a:pt x="149807" y="644174"/>
              </a:lnTo>
              <a:lnTo>
                <a:pt x="149807" y="0"/>
              </a:lnTo>
              <a:lnTo>
                <a:pt x="299615" y="0"/>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3EB454A-A3D9-42BF-A423-9DABFA9AF65B}">
      <dsp:nvSpPr>
        <dsp:cNvPr id="0" name=""/>
        <dsp:cNvSpPr/>
      </dsp:nvSpPr>
      <dsp:spPr>
        <a:xfrm>
          <a:off x="3303211" y="2954867"/>
          <a:ext cx="299615" cy="805217"/>
        </a:xfrm>
        <a:custGeom>
          <a:avLst/>
          <a:gdLst/>
          <a:ahLst/>
          <a:cxnLst/>
          <a:rect l="0" t="0" r="0" b="0"/>
          <a:pathLst>
            <a:path>
              <a:moveTo>
                <a:pt x="0" y="0"/>
              </a:moveTo>
              <a:lnTo>
                <a:pt x="149807" y="0"/>
              </a:lnTo>
              <a:lnTo>
                <a:pt x="149807" y="805217"/>
              </a:lnTo>
              <a:lnTo>
                <a:pt x="299615" y="805217"/>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5FFED6E-1BA9-4325-9830-1FF35D091980}">
      <dsp:nvSpPr>
        <dsp:cNvPr id="0" name=""/>
        <dsp:cNvSpPr/>
      </dsp:nvSpPr>
      <dsp:spPr>
        <a:xfrm>
          <a:off x="6898601" y="2426016"/>
          <a:ext cx="299615" cy="91440"/>
        </a:xfrm>
        <a:custGeom>
          <a:avLst/>
          <a:gdLst/>
          <a:ahLst/>
          <a:cxnLst/>
          <a:rect l="0" t="0" r="0" b="0"/>
          <a:pathLst>
            <a:path>
              <a:moveTo>
                <a:pt x="0" y="45720"/>
              </a:moveTo>
              <a:lnTo>
                <a:pt x="299615" y="45720"/>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F16A9D-4644-4788-8CDA-8916090F3243}">
      <dsp:nvSpPr>
        <dsp:cNvPr id="0" name=""/>
        <dsp:cNvSpPr/>
      </dsp:nvSpPr>
      <dsp:spPr>
        <a:xfrm>
          <a:off x="5100906" y="2149649"/>
          <a:ext cx="299615" cy="322087"/>
        </a:xfrm>
        <a:custGeom>
          <a:avLst/>
          <a:gdLst/>
          <a:ahLst/>
          <a:cxnLst/>
          <a:rect l="0" t="0" r="0" b="0"/>
          <a:pathLst>
            <a:path>
              <a:moveTo>
                <a:pt x="0" y="0"/>
              </a:moveTo>
              <a:lnTo>
                <a:pt x="149807" y="0"/>
              </a:lnTo>
              <a:lnTo>
                <a:pt x="149807" y="322087"/>
              </a:lnTo>
              <a:lnTo>
                <a:pt x="299615" y="322087"/>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644ABB4-0F21-40E7-A23C-9EAE3917BDCB}">
      <dsp:nvSpPr>
        <dsp:cNvPr id="0" name=""/>
        <dsp:cNvSpPr/>
      </dsp:nvSpPr>
      <dsp:spPr>
        <a:xfrm>
          <a:off x="5100906" y="1827562"/>
          <a:ext cx="299615" cy="322087"/>
        </a:xfrm>
        <a:custGeom>
          <a:avLst/>
          <a:gdLst/>
          <a:ahLst/>
          <a:cxnLst/>
          <a:rect l="0" t="0" r="0" b="0"/>
          <a:pathLst>
            <a:path>
              <a:moveTo>
                <a:pt x="0" y="322087"/>
              </a:moveTo>
              <a:lnTo>
                <a:pt x="149807" y="322087"/>
              </a:lnTo>
              <a:lnTo>
                <a:pt x="149807" y="0"/>
              </a:lnTo>
              <a:lnTo>
                <a:pt x="299615" y="0"/>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BFD6CA-BB84-4806-BB28-DEADA88BF2D7}">
      <dsp:nvSpPr>
        <dsp:cNvPr id="0" name=""/>
        <dsp:cNvSpPr/>
      </dsp:nvSpPr>
      <dsp:spPr>
        <a:xfrm>
          <a:off x="3303211" y="2149649"/>
          <a:ext cx="299615" cy="805217"/>
        </a:xfrm>
        <a:custGeom>
          <a:avLst/>
          <a:gdLst/>
          <a:ahLst/>
          <a:cxnLst/>
          <a:rect l="0" t="0" r="0" b="0"/>
          <a:pathLst>
            <a:path>
              <a:moveTo>
                <a:pt x="0" y="805217"/>
              </a:moveTo>
              <a:lnTo>
                <a:pt x="149807" y="805217"/>
              </a:lnTo>
              <a:lnTo>
                <a:pt x="149807" y="0"/>
              </a:lnTo>
              <a:lnTo>
                <a:pt x="299615" y="0"/>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248AFDA-9817-4C23-8C93-7AD0E9E89313}">
      <dsp:nvSpPr>
        <dsp:cNvPr id="0" name=""/>
        <dsp:cNvSpPr/>
      </dsp:nvSpPr>
      <dsp:spPr>
        <a:xfrm>
          <a:off x="1505516" y="2069127"/>
          <a:ext cx="299615" cy="885739"/>
        </a:xfrm>
        <a:custGeom>
          <a:avLst/>
          <a:gdLst/>
          <a:ahLst/>
          <a:cxnLst/>
          <a:rect l="0" t="0" r="0" b="0"/>
          <a:pathLst>
            <a:path>
              <a:moveTo>
                <a:pt x="0" y="0"/>
              </a:moveTo>
              <a:lnTo>
                <a:pt x="149807" y="0"/>
              </a:lnTo>
              <a:lnTo>
                <a:pt x="149807" y="885739"/>
              </a:lnTo>
              <a:lnTo>
                <a:pt x="299615" y="885739"/>
              </a:lnTo>
            </a:path>
          </a:pathLst>
        </a:custGeom>
        <a:noFill/>
        <a:ln w="12700" cap="flat" cmpd="sng" algn="ctr">
          <a:solidFill>
            <a:schemeClr val="accent6">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3E4C909-1527-46C6-8C76-CF3F05086213}">
      <dsp:nvSpPr>
        <dsp:cNvPr id="0" name=""/>
        <dsp:cNvSpPr/>
      </dsp:nvSpPr>
      <dsp:spPr>
        <a:xfrm>
          <a:off x="3303211" y="1183388"/>
          <a:ext cx="299615" cy="322087"/>
        </a:xfrm>
        <a:custGeom>
          <a:avLst/>
          <a:gdLst/>
          <a:ahLst/>
          <a:cxnLst/>
          <a:rect l="0" t="0" r="0" b="0"/>
          <a:pathLst>
            <a:path>
              <a:moveTo>
                <a:pt x="0" y="0"/>
              </a:moveTo>
              <a:lnTo>
                <a:pt x="149807" y="0"/>
              </a:lnTo>
              <a:lnTo>
                <a:pt x="149807" y="322087"/>
              </a:lnTo>
              <a:lnTo>
                <a:pt x="299615" y="322087"/>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CB65B85-7D7D-48EE-BC91-2D984FB7C14D}">
      <dsp:nvSpPr>
        <dsp:cNvPr id="0" name=""/>
        <dsp:cNvSpPr/>
      </dsp:nvSpPr>
      <dsp:spPr>
        <a:xfrm>
          <a:off x="3303211" y="861301"/>
          <a:ext cx="299615" cy="322087"/>
        </a:xfrm>
        <a:custGeom>
          <a:avLst/>
          <a:gdLst/>
          <a:ahLst/>
          <a:cxnLst/>
          <a:rect l="0" t="0" r="0" b="0"/>
          <a:pathLst>
            <a:path>
              <a:moveTo>
                <a:pt x="0" y="322087"/>
              </a:moveTo>
              <a:lnTo>
                <a:pt x="149807" y="322087"/>
              </a:lnTo>
              <a:lnTo>
                <a:pt x="149807" y="0"/>
              </a:lnTo>
              <a:lnTo>
                <a:pt x="299615" y="0"/>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6C3FA1A-D068-4D48-9E57-5D0F4D2C9B7F}">
      <dsp:nvSpPr>
        <dsp:cNvPr id="0" name=""/>
        <dsp:cNvSpPr/>
      </dsp:nvSpPr>
      <dsp:spPr>
        <a:xfrm>
          <a:off x="1505516" y="1183388"/>
          <a:ext cx="299615" cy="885739"/>
        </a:xfrm>
        <a:custGeom>
          <a:avLst/>
          <a:gdLst/>
          <a:ahLst/>
          <a:cxnLst/>
          <a:rect l="0" t="0" r="0" b="0"/>
          <a:pathLst>
            <a:path>
              <a:moveTo>
                <a:pt x="0" y="885739"/>
              </a:moveTo>
              <a:lnTo>
                <a:pt x="149807" y="885739"/>
              </a:lnTo>
              <a:lnTo>
                <a:pt x="149807" y="0"/>
              </a:lnTo>
              <a:lnTo>
                <a:pt x="299615" y="0"/>
              </a:lnTo>
            </a:path>
          </a:pathLst>
        </a:custGeom>
        <a:noFill/>
        <a:ln w="12700" cap="flat" cmpd="sng" algn="ctr">
          <a:solidFill>
            <a:schemeClr val="accent6">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3AF815C-864C-4A22-A6F1-62B1645BE7DA}">
      <dsp:nvSpPr>
        <dsp:cNvPr id="0" name=""/>
        <dsp:cNvSpPr/>
      </dsp:nvSpPr>
      <dsp:spPr>
        <a:xfrm>
          <a:off x="7437" y="1840670"/>
          <a:ext cx="1498079" cy="456914"/>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Study Designs</a:t>
          </a:r>
        </a:p>
      </dsp:txBody>
      <dsp:txXfrm>
        <a:off x="7437" y="1840670"/>
        <a:ext cx="1498079" cy="456914"/>
      </dsp:txXfrm>
    </dsp:sp>
    <dsp:sp modelId="{53FB2169-FF96-404F-B9A3-C23B51E77286}">
      <dsp:nvSpPr>
        <dsp:cNvPr id="0" name=""/>
        <dsp:cNvSpPr/>
      </dsp:nvSpPr>
      <dsp:spPr>
        <a:xfrm>
          <a:off x="1805132" y="954931"/>
          <a:ext cx="1498079" cy="456914"/>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Experimental</a:t>
          </a:r>
        </a:p>
      </dsp:txBody>
      <dsp:txXfrm>
        <a:off x="1805132" y="954931"/>
        <a:ext cx="1498079" cy="456914"/>
      </dsp:txXfrm>
    </dsp:sp>
    <dsp:sp modelId="{FF77C31D-A7AE-4A80-B3B9-2FFA432833C4}">
      <dsp:nvSpPr>
        <dsp:cNvPr id="0" name=""/>
        <dsp:cNvSpPr/>
      </dsp:nvSpPr>
      <dsp:spPr>
        <a:xfrm>
          <a:off x="3602827" y="632844"/>
          <a:ext cx="1498079" cy="456914"/>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RCT</a:t>
          </a:r>
        </a:p>
      </dsp:txBody>
      <dsp:txXfrm>
        <a:off x="3602827" y="632844"/>
        <a:ext cx="1498079" cy="456914"/>
      </dsp:txXfrm>
    </dsp:sp>
    <dsp:sp modelId="{540AE5FB-9B8B-47A0-BEE7-9E14BA9F1735}">
      <dsp:nvSpPr>
        <dsp:cNvPr id="0" name=""/>
        <dsp:cNvSpPr/>
      </dsp:nvSpPr>
      <dsp:spPr>
        <a:xfrm>
          <a:off x="3602827" y="1277018"/>
          <a:ext cx="1498079" cy="456914"/>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Quasi-Experimental</a:t>
          </a:r>
        </a:p>
      </dsp:txBody>
      <dsp:txXfrm>
        <a:off x="3602827" y="1277018"/>
        <a:ext cx="1498079" cy="456914"/>
      </dsp:txXfrm>
    </dsp:sp>
    <dsp:sp modelId="{F3B9E683-4A65-46B0-A821-919ACB754FBF}">
      <dsp:nvSpPr>
        <dsp:cNvPr id="0" name=""/>
        <dsp:cNvSpPr/>
      </dsp:nvSpPr>
      <dsp:spPr>
        <a:xfrm>
          <a:off x="1805132" y="2726409"/>
          <a:ext cx="1498079" cy="456914"/>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Observational</a:t>
          </a:r>
        </a:p>
      </dsp:txBody>
      <dsp:txXfrm>
        <a:off x="1805132" y="2726409"/>
        <a:ext cx="1498079" cy="456914"/>
      </dsp:txXfrm>
    </dsp:sp>
    <dsp:sp modelId="{236C6726-A06A-420B-91DE-BB9120DD52F9}">
      <dsp:nvSpPr>
        <dsp:cNvPr id="0" name=""/>
        <dsp:cNvSpPr/>
      </dsp:nvSpPr>
      <dsp:spPr>
        <a:xfrm>
          <a:off x="3602827" y="1921192"/>
          <a:ext cx="1498079" cy="456914"/>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Populations</a:t>
          </a:r>
        </a:p>
      </dsp:txBody>
      <dsp:txXfrm>
        <a:off x="3602827" y="1921192"/>
        <a:ext cx="1498079" cy="456914"/>
      </dsp:txXfrm>
    </dsp:sp>
    <dsp:sp modelId="{6E552716-DA64-4F53-84E4-34DEE2BD128F}">
      <dsp:nvSpPr>
        <dsp:cNvPr id="0" name=""/>
        <dsp:cNvSpPr/>
      </dsp:nvSpPr>
      <dsp:spPr>
        <a:xfrm>
          <a:off x="5400522" y="1599105"/>
          <a:ext cx="1498079" cy="456914"/>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Descriptive</a:t>
          </a:r>
        </a:p>
      </dsp:txBody>
      <dsp:txXfrm>
        <a:off x="5400522" y="1599105"/>
        <a:ext cx="1498079" cy="456914"/>
      </dsp:txXfrm>
    </dsp:sp>
    <dsp:sp modelId="{803E2EA7-58C4-4B66-BC3A-F0C307617805}">
      <dsp:nvSpPr>
        <dsp:cNvPr id="0" name=""/>
        <dsp:cNvSpPr/>
      </dsp:nvSpPr>
      <dsp:spPr>
        <a:xfrm>
          <a:off x="5400522" y="2243279"/>
          <a:ext cx="1498079" cy="456914"/>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Analytic</a:t>
          </a:r>
        </a:p>
      </dsp:txBody>
      <dsp:txXfrm>
        <a:off x="5400522" y="2243279"/>
        <a:ext cx="1498079" cy="456914"/>
      </dsp:txXfrm>
    </dsp:sp>
    <dsp:sp modelId="{0D1C22C2-9408-492D-B4F2-85AA7EEAFF71}">
      <dsp:nvSpPr>
        <dsp:cNvPr id="0" name=""/>
        <dsp:cNvSpPr/>
      </dsp:nvSpPr>
      <dsp:spPr>
        <a:xfrm>
          <a:off x="7198217" y="2243279"/>
          <a:ext cx="1498079" cy="456914"/>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Ecological Correlation”</a:t>
          </a:r>
        </a:p>
      </dsp:txBody>
      <dsp:txXfrm>
        <a:off x="7198217" y="2243279"/>
        <a:ext cx="1498079" cy="456914"/>
      </dsp:txXfrm>
    </dsp:sp>
    <dsp:sp modelId="{F27171DA-0016-416D-B196-155DE9F0E689}">
      <dsp:nvSpPr>
        <dsp:cNvPr id="0" name=""/>
        <dsp:cNvSpPr/>
      </dsp:nvSpPr>
      <dsp:spPr>
        <a:xfrm>
          <a:off x="3602827" y="3531627"/>
          <a:ext cx="1498079" cy="456914"/>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Individuals</a:t>
          </a:r>
        </a:p>
      </dsp:txBody>
      <dsp:txXfrm>
        <a:off x="3602827" y="3531627"/>
        <a:ext cx="1498079" cy="456914"/>
      </dsp:txXfrm>
    </dsp:sp>
    <dsp:sp modelId="{C20F4905-6D86-4B54-BD7A-069E5A8230EE}">
      <dsp:nvSpPr>
        <dsp:cNvPr id="0" name=""/>
        <dsp:cNvSpPr/>
      </dsp:nvSpPr>
      <dsp:spPr>
        <a:xfrm>
          <a:off x="5400522" y="2887453"/>
          <a:ext cx="1498079" cy="456914"/>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Descriptive</a:t>
          </a:r>
        </a:p>
      </dsp:txBody>
      <dsp:txXfrm>
        <a:off x="5400522" y="2887453"/>
        <a:ext cx="1498079" cy="456914"/>
      </dsp:txXfrm>
    </dsp:sp>
    <dsp:sp modelId="{9639F9C5-5C48-4E1B-AF21-476B30582A69}">
      <dsp:nvSpPr>
        <dsp:cNvPr id="0" name=""/>
        <dsp:cNvSpPr/>
      </dsp:nvSpPr>
      <dsp:spPr>
        <a:xfrm>
          <a:off x="7198217" y="2887453"/>
          <a:ext cx="1498079" cy="456914"/>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Case Series</a:t>
          </a:r>
        </a:p>
      </dsp:txBody>
      <dsp:txXfrm>
        <a:off x="7198217" y="2887453"/>
        <a:ext cx="1498079" cy="456914"/>
      </dsp:txXfrm>
    </dsp:sp>
    <dsp:sp modelId="{68856973-52E2-4E06-8B58-B7856884F8CB}">
      <dsp:nvSpPr>
        <dsp:cNvPr id="0" name=""/>
        <dsp:cNvSpPr/>
      </dsp:nvSpPr>
      <dsp:spPr>
        <a:xfrm>
          <a:off x="5400522" y="4175801"/>
          <a:ext cx="1498079" cy="456914"/>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Analytic</a:t>
          </a:r>
        </a:p>
      </dsp:txBody>
      <dsp:txXfrm>
        <a:off x="5400522" y="4175801"/>
        <a:ext cx="1498079" cy="456914"/>
      </dsp:txXfrm>
    </dsp:sp>
    <dsp:sp modelId="{054D3446-5677-47F2-97E4-8B406B1341AC}">
      <dsp:nvSpPr>
        <dsp:cNvPr id="0" name=""/>
        <dsp:cNvSpPr/>
      </dsp:nvSpPr>
      <dsp:spPr>
        <a:xfrm>
          <a:off x="7198217" y="3531627"/>
          <a:ext cx="1498079" cy="456914"/>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Cross-Sectional Study</a:t>
          </a:r>
        </a:p>
      </dsp:txBody>
      <dsp:txXfrm>
        <a:off x="7198217" y="3531627"/>
        <a:ext cx="1498079" cy="456914"/>
      </dsp:txXfrm>
    </dsp:sp>
    <dsp:sp modelId="{C7624447-66B7-4353-B0E5-281CAD1969BD}">
      <dsp:nvSpPr>
        <dsp:cNvPr id="0" name=""/>
        <dsp:cNvSpPr/>
      </dsp:nvSpPr>
      <dsp:spPr>
        <a:xfrm>
          <a:off x="7198217" y="4175801"/>
          <a:ext cx="1498079" cy="456914"/>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Cohort Study</a:t>
          </a:r>
        </a:p>
      </dsp:txBody>
      <dsp:txXfrm>
        <a:off x="7198217" y="4175801"/>
        <a:ext cx="1498079" cy="456914"/>
      </dsp:txXfrm>
    </dsp:sp>
    <dsp:sp modelId="{1E05F1F6-7EFE-4E9C-BC82-3E13B5817B59}">
      <dsp:nvSpPr>
        <dsp:cNvPr id="0" name=""/>
        <dsp:cNvSpPr/>
      </dsp:nvSpPr>
      <dsp:spPr>
        <a:xfrm>
          <a:off x="7198217" y="4819975"/>
          <a:ext cx="1498079" cy="456914"/>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a:t>Case-Control Study</a:t>
          </a:r>
        </a:p>
      </dsp:txBody>
      <dsp:txXfrm>
        <a:off x="7198217" y="4819975"/>
        <a:ext cx="1498079" cy="4569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47FE6C-1439-4932-BA51-3FB58BF75827}">
      <dsp:nvSpPr>
        <dsp:cNvPr id="0" name=""/>
        <dsp:cNvSpPr/>
      </dsp:nvSpPr>
      <dsp:spPr>
        <a:xfrm>
          <a:off x="1173993" y="982"/>
          <a:ext cx="1320742" cy="37211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bg1"/>
              </a:solidFill>
            </a:rPr>
            <a:t>Strength</a:t>
          </a:r>
          <a:endParaRPr lang="en-US" sz="1100" kern="1200">
            <a:solidFill>
              <a:schemeClr val="bg1"/>
            </a:solidFill>
          </a:endParaRPr>
        </a:p>
      </dsp:txBody>
      <dsp:txXfrm>
        <a:off x="1192158" y="19147"/>
        <a:ext cx="1284412" cy="335788"/>
      </dsp:txXfrm>
    </dsp:sp>
    <dsp:sp modelId="{14161662-B481-4CD2-910A-7A583650504D}">
      <dsp:nvSpPr>
        <dsp:cNvPr id="0" name=""/>
        <dsp:cNvSpPr/>
      </dsp:nvSpPr>
      <dsp:spPr>
        <a:xfrm>
          <a:off x="1173993" y="391706"/>
          <a:ext cx="1320742" cy="372118"/>
        </a:xfrm>
        <a:prstGeom prst="roundRect">
          <a:avLst/>
        </a:prstGeom>
        <a:solidFill>
          <a:srgbClr val="5A5A5A">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FFFFFF"/>
              </a:solidFill>
              <a:latin typeface="Arial" panose="020B0604020202020204"/>
              <a:ea typeface="+mn-ea"/>
              <a:cs typeface="+mn-cs"/>
            </a:rPr>
            <a:t>Consistency</a:t>
          </a:r>
          <a:endParaRPr lang="en-US" sz="1100" kern="1200">
            <a:solidFill>
              <a:srgbClr val="FFFFFF"/>
            </a:solidFill>
            <a:latin typeface="Arial" panose="020B0604020202020204"/>
            <a:ea typeface="+mn-ea"/>
            <a:cs typeface="+mn-cs"/>
          </a:endParaRPr>
        </a:p>
      </dsp:txBody>
      <dsp:txXfrm>
        <a:off x="1192158" y="409871"/>
        <a:ext cx="1284412" cy="335788"/>
      </dsp:txXfrm>
    </dsp:sp>
    <dsp:sp modelId="{5EC10527-7FF6-4F77-B1B8-7123B6743B50}">
      <dsp:nvSpPr>
        <dsp:cNvPr id="0" name=""/>
        <dsp:cNvSpPr/>
      </dsp:nvSpPr>
      <dsp:spPr>
        <a:xfrm>
          <a:off x="1173993" y="782430"/>
          <a:ext cx="1320742" cy="37211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bg1"/>
              </a:solidFill>
            </a:rPr>
            <a:t>Specificity</a:t>
          </a:r>
          <a:endParaRPr lang="en-US" sz="1100" kern="1200">
            <a:solidFill>
              <a:schemeClr val="bg1"/>
            </a:solidFill>
          </a:endParaRPr>
        </a:p>
      </dsp:txBody>
      <dsp:txXfrm>
        <a:off x="1192158" y="800595"/>
        <a:ext cx="1284412" cy="335788"/>
      </dsp:txXfrm>
    </dsp:sp>
    <dsp:sp modelId="{961A080B-AECE-4BB1-BA79-8E1BBA779902}">
      <dsp:nvSpPr>
        <dsp:cNvPr id="0" name=""/>
        <dsp:cNvSpPr/>
      </dsp:nvSpPr>
      <dsp:spPr>
        <a:xfrm>
          <a:off x="1173993" y="1173154"/>
          <a:ext cx="1320742" cy="372118"/>
        </a:xfrm>
        <a:prstGeom prst="roundRect">
          <a:avLst/>
        </a:prstGeom>
        <a:solidFill>
          <a:schemeClr val="accent1">
            <a:hueOff val="0"/>
            <a:satOff val="0"/>
            <a:lumOff val="0"/>
            <a:alphaOff val="0"/>
          </a:schemeClr>
        </a:solidFill>
        <a:ln w="381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GB" sz="1100" b="0" kern="1200">
              <a:solidFill>
                <a:schemeClr val="bg1"/>
              </a:solidFill>
            </a:rPr>
            <a:t>Temporal Sequence</a:t>
          </a:r>
          <a:endParaRPr lang="en-US" sz="1100" b="0" kern="1200">
            <a:solidFill>
              <a:schemeClr val="bg1"/>
            </a:solidFill>
          </a:endParaRPr>
        </a:p>
      </dsp:txBody>
      <dsp:txXfrm>
        <a:off x="1192158" y="1191319"/>
        <a:ext cx="1284412" cy="335788"/>
      </dsp:txXfrm>
    </dsp:sp>
    <dsp:sp modelId="{17B65380-8FCD-42F2-B460-FA1E73FC6628}">
      <dsp:nvSpPr>
        <dsp:cNvPr id="0" name=""/>
        <dsp:cNvSpPr/>
      </dsp:nvSpPr>
      <dsp:spPr>
        <a:xfrm>
          <a:off x="1173993" y="1563878"/>
          <a:ext cx="1320742" cy="372118"/>
        </a:xfrm>
        <a:prstGeom prst="roundRect">
          <a:avLst/>
        </a:prstGeom>
        <a:solidFill>
          <a:schemeClr val="accent1">
            <a:hueOff val="0"/>
            <a:satOff val="0"/>
            <a:lumOff val="0"/>
            <a:alphaOff val="0"/>
          </a:schemeClr>
        </a:solidFill>
        <a:ln w="381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GB" sz="1100" b="0" kern="1200">
              <a:solidFill>
                <a:schemeClr val="bg1"/>
              </a:solidFill>
            </a:rPr>
            <a:t>Dose Response</a:t>
          </a:r>
          <a:endParaRPr lang="en-US" sz="1100" b="0" kern="1200">
            <a:solidFill>
              <a:schemeClr val="bg1"/>
            </a:solidFill>
          </a:endParaRPr>
        </a:p>
      </dsp:txBody>
      <dsp:txXfrm>
        <a:off x="1192158" y="1582043"/>
        <a:ext cx="1284412" cy="335788"/>
      </dsp:txXfrm>
    </dsp:sp>
    <dsp:sp modelId="{527CED27-6731-406D-91C7-6C9D625FBD78}">
      <dsp:nvSpPr>
        <dsp:cNvPr id="0" name=""/>
        <dsp:cNvSpPr/>
      </dsp:nvSpPr>
      <dsp:spPr>
        <a:xfrm>
          <a:off x="1173993" y="1954602"/>
          <a:ext cx="1320742" cy="372118"/>
        </a:xfrm>
        <a:prstGeom prst="roundRect">
          <a:avLst/>
        </a:prstGeom>
        <a:solidFill>
          <a:schemeClr val="accent1">
            <a:hueOff val="0"/>
            <a:satOff val="0"/>
            <a:lumOff val="0"/>
            <a:alphaOff val="0"/>
          </a:schemeClr>
        </a:solidFill>
        <a:ln w="381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GB" sz="1100" b="0" kern="1200">
              <a:solidFill>
                <a:schemeClr val="bg1"/>
              </a:solidFill>
            </a:rPr>
            <a:t>Plausibility</a:t>
          </a:r>
          <a:endParaRPr lang="en-US" sz="1100" b="0" kern="1200">
            <a:solidFill>
              <a:schemeClr val="bg1"/>
            </a:solidFill>
          </a:endParaRPr>
        </a:p>
      </dsp:txBody>
      <dsp:txXfrm>
        <a:off x="1192158" y="1972767"/>
        <a:ext cx="1284412" cy="335788"/>
      </dsp:txXfrm>
    </dsp:sp>
    <dsp:sp modelId="{ACD14CC5-D281-4D19-BEFB-739A61B37521}">
      <dsp:nvSpPr>
        <dsp:cNvPr id="0" name=""/>
        <dsp:cNvSpPr/>
      </dsp:nvSpPr>
      <dsp:spPr>
        <a:xfrm>
          <a:off x="1173993" y="2345326"/>
          <a:ext cx="1320742" cy="37211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bg1"/>
              </a:solidFill>
            </a:rPr>
            <a:t>Coherence</a:t>
          </a:r>
          <a:endParaRPr lang="en-US" sz="1100" kern="1200">
            <a:solidFill>
              <a:schemeClr val="bg1"/>
            </a:solidFill>
          </a:endParaRPr>
        </a:p>
      </dsp:txBody>
      <dsp:txXfrm>
        <a:off x="1192158" y="2363491"/>
        <a:ext cx="1284412" cy="335788"/>
      </dsp:txXfrm>
    </dsp:sp>
    <dsp:sp modelId="{826396C2-F98D-41E2-A628-3973B68FF48F}">
      <dsp:nvSpPr>
        <dsp:cNvPr id="0" name=""/>
        <dsp:cNvSpPr/>
      </dsp:nvSpPr>
      <dsp:spPr>
        <a:xfrm>
          <a:off x="1173993" y="2736050"/>
          <a:ext cx="1320742" cy="37211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bg1"/>
              </a:solidFill>
            </a:rPr>
            <a:t>Experiment</a:t>
          </a:r>
          <a:endParaRPr lang="en-US" sz="1100" kern="1200">
            <a:solidFill>
              <a:schemeClr val="bg1"/>
            </a:solidFill>
          </a:endParaRPr>
        </a:p>
      </dsp:txBody>
      <dsp:txXfrm>
        <a:off x="1192158" y="2754215"/>
        <a:ext cx="1284412" cy="335788"/>
      </dsp:txXfrm>
    </dsp:sp>
    <dsp:sp modelId="{DB96DB80-E364-4910-A3CA-37415552AF12}">
      <dsp:nvSpPr>
        <dsp:cNvPr id="0" name=""/>
        <dsp:cNvSpPr/>
      </dsp:nvSpPr>
      <dsp:spPr>
        <a:xfrm>
          <a:off x="1173993" y="3126774"/>
          <a:ext cx="1320742" cy="37211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bg1"/>
              </a:solidFill>
            </a:rPr>
            <a:t>Analogy</a:t>
          </a:r>
          <a:endParaRPr lang="en-US" sz="1100" kern="1200">
            <a:solidFill>
              <a:schemeClr val="bg1"/>
            </a:solidFill>
          </a:endParaRPr>
        </a:p>
      </dsp:txBody>
      <dsp:txXfrm>
        <a:off x="1192158" y="3144939"/>
        <a:ext cx="1284412" cy="335788"/>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EC00F6-C9C2-439D-9934-CDC020919295}" type="datetimeFigureOut">
              <a:rPr lang="en-US" smtClean="0"/>
              <a:t>1/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B48E8F-31E0-4FAF-B2A3-B2C8D7524FA4}" type="slidenum">
              <a:rPr lang="en-US" smtClean="0"/>
              <a:t>‹#›</a:t>
            </a:fld>
            <a:endParaRPr lang="en-US"/>
          </a:p>
        </p:txBody>
      </p:sp>
    </p:spTree>
    <p:extLst>
      <p:ext uri="{BB962C8B-B14F-4D97-AF65-F5344CB8AC3E}">
        <p14:creationId xmlns:p14="http://schemas.microsoft.com/office/powerpoint/2010/main" val="33765176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73E3-94A9-4909-B0E6-D7789AC0D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53275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arning outcomes/objectives sli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73E3-94A9-4909-B0E6-D7789AC0D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82497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21.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20.jpe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2.png"/><Relationship Id="rId1" Type="http://schemas.openxmlformats.org/officeDocument/2006/relationships/slideMaster" Target="../slideMasters/slideMaster4.xml"/><Relationship Id="rId5" Type="http://schemas.openxmlformats.org/officeDocument/2006/relationships/image" Target="../media/image23.jpeg"/><Relationship Id="rId4" Type="http://schemas.openxmlformats.org/officeDocument/2006/relationships/image" Target="../media/image2.svg"/></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24.png"/><Relationship Id="rId2" Type="http://schemas.openxmlformats.org/officeDocument/2006/relationships/image" Target="../media/image1.pn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7.jpe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8.jpe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0.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3.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3.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3.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3.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3.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3.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3.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3.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0.jpe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24.png"/><Relationship Id="rId2" Type="http://schemas.openxmlformats.org/officeDocument/2006/relationships/image" Target="../media/image1.png"/><Relationship Id="rId1" Type="http://schemas.openxmlformats.org/officeDocument/2006/relationships/slideMaster" Target="../slideMasters/slideMaster7.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7.jpe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8.jpe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10.jpe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11.jpe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12.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slide" Target="../slides/slide41.xml"/><Relationship Id="rId1" Type="http://schemas.openxmlformats.org/officeDocument/2006/relationships/slideMaster" Target="../slideMasters/slideMaster7.xml"/><Relationship Id="rId5" Type="http://schemas.openxmlformats.org/officeDocument/2006/relationships/image" Target="../media/image28.svg"/><Relationship Id="rId4" Type="http://schemas.openxmlformats.org/officeDocument/2006/relationships/image" Target="../media/image27.pn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7.xml"/><Relationship Id="rId5" Type="http://schemas.openxmlformats.org/officeDocument/2006/relationships/slide" Target="../slides/slide45.xml"/><Relationship Id="rId4" Type="http://schemas.openxmlformats.org/officeDocument/2006/relationships/image" Target="../media/image28.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7.xml"/><Relationship Id="rId5" Type="http://schemas.openxmlformats.org/officeDocument/2006/relationships/slide" Target="../slides/slide45.xml"/><Relationship Id="rId4" Type="http://schemas.openxmlformats.org/officeDocument/2006/relationships/image" Target="../media/image28.svg"/></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7.xml"/><Relationship Id="rId5" Type="http://schemas.openxmlformats.org/officeDocument/2006/relationships/slide" Target="../slides/slide41.xml"/><Relationship Id="rId4" Type="http://schemas.openxmlformats.org/officeDocument/2006/relationships/image" Target="../media/image28.sv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7.xml"/><Relationship Id="rId5" Type="http://schemas.openxmlformats.org/officeDocument/2006/relationships/slide" Target="../slides/slide41.xml"/><Relationship Id="rId4" Type="http://schemas.openxmlformats.org/officeDocument/2006/relationships/image" Target="../media/image28.sv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7.xml"/><Relationship Id="rId5" Type="http://schemas.openxmlformats.org/officeDocument/2006/relationships/slide" Target="../slides/slide45.xml"/><Relationship Id="rId4" Type="http://schemas.openxmlformats.org/officeDocument/2006/relationships/image" Target="../media/image28.svg"/></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7.xml"/><Relationship Id="rId5" Type="http://schemas.openxmlformats.org/officeDocument/2006/relationships/slide" Target="../slides/slide41.xml"/><Relationship Id="rId4" Type="http://schemas.openxmlformats.org/officeDocument/2006/relationships/image" Target="../media/image28.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7.xml"/><Relationship Id="rId5" Type="http://schemas.openxmlformats.org/officeDocument/2006/relationships/slide" Target="../slides/slide41.xml"/><Relationship Id="rId4" Type="http://schemas.openxmlformats.org/officeDocument/2006/relationships/image" Target="../media/image28.sv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0.jpeg"/></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24.png"/><Relationship Id="rId2" Type="http://schemas.openxmlformats.org/officeDocument/2006/relationships/image" Target="../media/image1.png"/><Relationship Id="rId1" Type="http://schemas.openxmlformats.org/officeDocument/2006/relationships/slideMaster" Target="../slideMasters/slideMaster9.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7.jpe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8.jpe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10.jpe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11.jpe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12.png"/></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slide" Target="../slides/slide41.xml"/><Relationship Id="rId1" Type="http://schemas.openxmlformats.org/officeDocument/2006/relationships/slideMaster" Target="../slideMasters/slideMaster9.xml"/><Relationship Id="rId5" Type="http://schemas.openxmlformats.org/officeDocument/2006/relationships/image" Target="../media/image28.svg"/><Relationship Id="rId4" Type="http://schemas.openxmlformats.org/officeDocument/2006/relationships/image" Target="../media/image27.pn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9.xml"/><Relationship Id="rId5" Type="http://schemas.openxmlformats.org/officeDocument/2006/relationships/slide" Target="../slides/slide41.xml"/><Relationship Id="rId4" Type="http://schemas.openxmlformats.org/officeDocument/2006/relationships/image" Target="../media/image28.sv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9.xml"/><Relationship Id="rId5" Type="http://schemas.openxmlformats.org/officeDocument/2006/relationships/slide" Target="../slides/slide41.xml"/><Relationship Id="rId4" Type="http://schemas.openxmlformats.org/officeDocument/2006/relationships/image" Target="../media/image28.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9.xml"/><Relationship Id="rId5" Type="http://schemas.openxmlformats.org/officeDocument/2006/relationships/slide" Target="../slides/slide41.xml"/><Relationship Id="rId4" Type="http://schemas.openxmlformats.org/officeDocument/2006/relationships/image" Target="../media/image28.sv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9.xml"/><Relationship Id="rId5" Type="http://schemas.openxmlformats.org/officeDocument/2006/relationships/slide" Target="../slides/slide41.xml"/><Relationship Id="rId4" Type="http://schemas.openxmlformats.org/officeDocument/2006/relationships/image" Target="../media/image28.svg"/></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9.xml"/><Relationship Id="rId5" Type="http://schemas.openxmlformats.org/officeDocument/2006/relationships/slide" Target="../slides/slide41.xml"/><Relationship Id="rId4" Type="http://schemas.openxmlformats.org/officeDocument/2006/relationships/image" Target="../media/image28.sv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9.xml"/><Relationship Id="rId5" Type="http://schemas.openxmlformats.org/officeDocument/2006/relationships/slide" Target="../slides/slide41.xml"/><Relationship Id="rId4" Type="http://schemas.openxmlformats.org/officeDocument/2006/relationships/image" Target="../media/image28.sv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9.xml"/><Relationship Id="rId5" Type="http://schemas.openxmlformats.org/officeDocument/2006/relationships/slide" Target="../slides/slide41.xml"/><Relationship Id="rId4" Type="http://schemas.openxmlformats.org/officeDocument/2006/relationships/image" Target="../media/image28.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5.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6.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7.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8.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4.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5.jpe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8.jpe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7.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8.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2</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8421497" y="4243004"/>
            <a:ext cx="3310128" cy="1856495"/>
          </a:xfrm>
          <a:prstGeom prst="rect">
            <a:avLst/>
          </a:prstGeom>
          <a:ln w="6350">
            <a:solidFill>
              <a:schemeClr val="accent2"/>
            </a:solidFill>
          </a:ln>
        </p:spPr>
      </p:pic>
    </p:spTree>
    <p:extLst>
      <p:ext uri="{BB962C8B-B14F-4D97-AF65-F5344CB8AC3E}">
        <p14:creationId xmlns:p14="http://schemas.microsoft.com/office/powerpoint/2010/main" val="31934074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52561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30356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9/2024</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24665923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9/2024</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61653292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9/2024</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96903582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9/2024</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4298673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9/2024</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54642204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9/2024</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78025433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9/2024</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69094013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9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9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GB" dirty="0"/>
            </a:lvl1pPr>
          </a:lstStyle>
          <a:p>
            <a:pPr lvl="0"/>
            <a:r>
              <a:rPr lang="en-US"/>
              <a:t>Slide title</a:t>
            </a:r>
            <a:endParaRPr lang="en-GB"/>
          </a:p>
        </p:txBody>
      </p:sp>
      <p:sp>
        <p:nvSpPr>
          <p:cNvPr id="4"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
        <p:nvSpPr>
          <p:cNvPr id="5" name="Text Placeholder 4"/>
          <p:cNvSpPr>
            <a:spLocks noGrp="1"/>
          </p:cNvSpPr>
          <p:nvPr>
            <p:ph type="body" sz="quarter" idx="11"/>
          </p:nvPr>
        </p:nvSpPr>
        <p:spPr>
          <a:xfrm>
            <a:off x="1219200" y="2057400"/>
            <a:ext cx="9753600" cy="2743200"/>
          </a:xfrm>
          <a:prstGeom prst="rect">
            <a:avLst/>
          </a:prstGeom>
          <a:solidFill>
            <a:schemeClr val="tx2"/>
          </a:solidFill>
        </p:spPr>
        <p:txBody>
          <a:bodyPr lIns="182880" tIns="182880" rIns="182880" bIns="182880" anchor="t"/>
          <a:lstStyle>
            <a:lvl1pPr marL="0" indent="0">
              <a:spcBef>
                <a:spcPts val="600"/>
              </a:spcBef>
              <a:spcAft>
                <a:spcPts val="600"/>
              </a:spcAft>
              <a:buFont typeface="+mj-lt"/>
              <a:buNone/>
              <a:defRPr sz="1200">
                <a:solidFill>
                  <a:schemeClr val="bg1"/>
                </a:solidFill>
              </a:defRPr>
            </a:lvl1pPr>
          </a:lstStyle>
          <a:p>
            <a:pPr lvl="0"/>
            <a:r>
              <a:rPr lang="en-US"/>
              <a:t>Edit Master text styles</a:t>
            </a:r>
          </a:p>
        </p:txBody>
      </p:sp>
    </p:spTree>
    <p:extLst>
      <p:ext uri="{BB962C8B-B14F-4D97-AF65-F5344CB8AC3E}">
        <p14:creationId xmlns:p14="http://schemas.microsoft.com/office/powerpoint/2010/main" val="93273150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US" sz="2000" dirty="0"/>
            </a:lvl1pPr>
          </a:lstStyle>
          <a:p>
            <a:pPr lvl="0"/>
            <a:r>
              <a:rPr lang="en-US"/>
              <a:t>Two items layout</a:t>
            </a:r>
          </a:p>
        </p:txBody>
      </p:sp>
      <p:sp>
        <p:nvSpPr>
          <p:cNvPr id="8" name="Text Placeholder 7"/>
          <p:cNvSpPr>
            <a:spLocks noGrp="1"/>
          </p:cNvSpPr>
          <p:nvPr>
            <p:ph type="body" sz="quarter" idx="14" hasCustomPrompt="1"/>
          </p:nvPr>
        </p:nvSpPr>
        <p:spPr>
          <a:xfrm>
            <a:off x="365760" y="914401"/>
            <a:ext cx="54864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6339840" y="914401"/>
            <a:ext cx="54864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65760" y="1645920"/>
            <a:ext cx="5486400" cy="457200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33" name="Text Placeholder 7"/>
          <p:cNvSpPr>
            <a:spLocks noGrp="1"/>
          </p:cNvSpPr>
          <p:nvPr>
            <p:ph type="body" sz="quarter" idx="21" hasCustomPrompt="1"/>
          </p:nvPr>
        </p:nvSpPr>
        <p:spPr>
          <a:xfrm>
            <a:off x="6339840" y="1645920"/>
            <a:ext cx="54864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9"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18117378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42919774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1935342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5B20C24A-7F63-4C9D-B8AA-DB5AFD0AB0C4}" type="datetimeFigureOut">
              <a:rPr lang="en-US" smtClean="0"/>
              <a:t>1/9/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B519C85C-EAC9-48AD-98B2-AD409FB15711}" type="slidenum">
              <a:rPr lang="en-US" smtClean="0"/>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106759465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476395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B20C24A-7F63-4C9D-B8AA-DB5AFD0AB0C4}" type="datetimeFigureOut">
              <a:rPr lang="en-US" smtClean="0"/>
              <a:t>1/9/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7701178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B20C24A-7F63-4C9D-B8AA-DB5AFD0AB0C4}" type="datetimeFigureOut">
              <a:rPr lang="en-US" smtClean="0"/>
              <a:t>1/9/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7532141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76928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5B20C24A-7F63-4C9D-B8AA-DB5AFD0AB0C4}" type="datetimeFigureOut">
              <a:rPr lang="en-US" smtClean="0"/>
              <a:t>1/9/2024</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endParaRPr lang="en-US"/>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542528798"/>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B20C24A-7F63-4C9D-B8AA-DB5AFD0AB0C4}" type="datetimeFigureOut">
              <a:rPr lang="en-US" smtClean="0"/>
              <a:t>1/9/2024</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endParaRPr lang="en-US"/>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82123986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B20C24A-7F63-4C9D-B8AA-DB5AFD0AB0C4}" type="datetimeFigureOut">
              <a:rPr lang="en-US" smtClean="0"/>
              <a:t>1/9/2024</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endParaRPr lang="en-US"/>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4166987531"/>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5B20C24A-7F63-4C9D-B8AA-DB5AFD0AB0C4}" type="datetimeFigureOut">
              <a:rPr lang="en-US" smtClean="0"/>
              <a:t>1/9/2024</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endParaRPr lang="en-US"/>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35685595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25640902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5B20C24A-7F63-4C9D-B8AA-DB5AFD0AB0C4}" type="datetimeFigureOut">
              <a:rPr lang="en-US" smtClean="0"/>
              <a:t>1/9/2024</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endParaRPr lang="en-US"/>
          </a:p>
        </p:txBody>
      </p:sp>
    </p:spTree>
    <p:extLst>
      <p:ext uri="{BB962C8B-B14F-4D97-AF65-F5344CB8AC3E}">
        <p14:creationId xmlns:p14="http://schemas.microsoft.com/office/powerpoint/2010/main" val="2783604527"/>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703620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005725796"/>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4255927993"/>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26466287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7219575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12818627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0078681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709853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9285617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494900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Cover 08">
    <p:bg>
      <p:bgPr>
        <a:solidFill>
          <a:srgbClr val="FBF9F4"/>
        </a:solidFill>
        <a:effectLst/>
      </p:bgPr>
    </p:bg>
    <p:spTree>
      <p:nvGrpSpPr>
        <p:cNvPr id="1" name=""/>
        <p:cNvGrpSpPr/>
        <p:nvPr/>
      </p:nvGrpSpPr>
      <p:grpSpPr>
        <a:xfrm>
          <a:off x="0" y="0"/>
          <a:ext cx="0" cy="0"/>
          <a:chOff x="0" y="0"/>
          <a:chExt cx="0" cy="0"/>
        </a:xfrm>
      </p:grpSpPr>
      <p:grpSp>
        <p:nvGrpSpPr>
          <p:cNvPr id="19" name="Group 18" descr="Inclusion note: When copying this cover option into the on-screen 16:9 template, it’s expected and permissible for this to be used even though it’s inserted after the “Layouts not for use” indicator.">
            <a:extLst>
              <a:ext uri="{FF2B5EF4-FFF2-40B4-BE49-F238E27FC236}">
                <a16:creationId xmlns:a16="http://schemas.microsoft.com/office/drawing/2014/main" id="{945B66E2-1010-4E62-994E-A291D7668AEB}"/>
              </a:ext>
            </a:extLst>
          </p:cNvPr>
          <p:cNvGrpSpPr/>
          <p:nvPr userDrawn="1"/>
        </p:nvGrpSpPr>
        <p:grpSpPr>
          <a:xfrm>
            <a:off x="12370949" y="3847399"/>
            <a:ext cx="1761363" cy="3010601"/>
            <a:chOff x="12370950" y="3847399"/>
            <a:chExt cx="1761363" cy="3010601"/>
          </a:xfrm>
        </p:grpSpPr>
        <p:sp>
          <p:nvSpPr>
            <p:cNvPr id="20" name="Text Placeholder 1">
              <a:extLst>
                <a:ext uri="{FF2B5EF4-FFF2-40B4-BE49-F238E27FC236}">
                  <a16:creationId xmlns:a16="http://schemas.microsoft.com/office/drawing/2014/main" id="{80F69CCF-794E-4F5A-AC0E-B7418714FDB5}"/>
                </a:ext>
                <a:ext uri="{C183D7F6-B498-43B3-948B-1728B52AA6E4}">
                  <adec:decorative xmlns:adec="http://schemas.microsoft.com/office/drawing/2017/decorative" val="0"/>
                </a:ext>
              </a:extLst>
            </p:cNvPr>
            <p:cNvSpPr txBox="1">
              <a:spLocks/>
            </p:cNvSpPr>
            <p:nvPr userDrawn="1"/>
          </p:nvSpPr>
          <p:spPr bwMode="gray">
            <a:xfrm>
              <a:off x="12370950" y="3847399"/>
              <a:ext cx="1761363" cy="3010601"/>
            </a:xfrm>
            <a:prstGeom prst="rect">
              <a:avLst/>
            </a:prstGeom>
            <a:solidFill>
              <a:srgbClr val="7030A0"/>
            </a:solidFill>
          </p:spPr>
          <p:txBody>
            <a:bodyPr vert="horz" wrap="square" lIns="64008" tIns="45720" rIns="64008" bIns="45720" rtlCol="0">
              <a:noAutofit/>
            </a:bodyPr>
            <a:lstStyle>
              <a:lvl1pPr marL="0" indent="0" algn="l" defTabSz="640080" rtl="0" eaLnBrk="1" latinLnBrk="0" hangingPunct="1">
                <a:spcBef>
                  <a:spcPts val="500"/>
                </a:spcBef>
                <a:buFontTx/>
                <a:buNone/>
                <a:defRPr sz="10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6858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6pPr>
              <a:lvl7pPr marL="8001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7pPr>
              <a:lvl8pPr marL="9144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8pPr>
              <a:lvl9pPr marL="10287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9pPr>
            </a:lstStyle>
            <a:p>
              <a:r>
                <a:rPr lang="en-US" sz="1800" b="1" noProof="0">
                  <a:solidFill>
                    <a:schemeClr val="bg1"/>
                  </a:solidFill>
                </a:rPr>
                <a:t>Inclusion note:</a:t>
              </a:r>
            </a:p>
            <a:p>
              <a:pPr marL="0" indent="0">
                <a:spcBef>
                  <a:spcPts val="300"/>
                </a:spcBef>
                <a:buFont typeface="+mj-lt"/>
                <a:buNone/>
              </a:pPr>
              <a:r>
                <a:rPr lang="en-US" sz="900" b="0" i="0" baseline="0" noProof="0">
                  <a:solidFill>
                    <a:schemeClr val="bg1"/>
                  </a:solidFill>
                </a:rPr>
                <a:t>When copying this cover option into the on-screen 16:9 template, </a:t>
              </a:r>
              <a:r>
                <a:rPr lang="en-US" sz="900" b="1" i="0" baseline="0" noProof="0">
                  <a:solidFill>
                    <a:schemeClr val="bg1"/>
                  </a:solidFill>
                </a:rPr>
                <a:t>it’s expected </a:t>
              </a:r>
              <a:br>
                <a:rPr lang="en-US" sz="900" b="1" i="0" baseline="0" noProof="0">
                  <a:solidFill>
                    <a:schemeClr val="bg1"/>
                  </a:solidFill>
                </a:rPr>
              </a:br>
              <a:r>
                <a:rPr lang="en-US" sz="900" b="1" i="0" baseline="0" noProof="0">
                  <a:solidFill>
                    <a:schemeClr val="bg1"/>
                  </a:solidFill>
                </a:rPr>
                <a:t>and permissible for this to </a:t>
              </a:r>
              <a:br>
                <a:rPr lang="en-US" sz="900" b="1" i="0" baseline="0" noProof="0">
                  <a:solidFill>
                    <a:schemeClr val="bg1"/>
                  </a:solidFill>
                </a:rPr>
              </a:br>
              <a:r>
                <a:rPr lang="en-US" sz="900" b="1" i="0" baseline="0" noProof="0">
                  <a:solidFill>
                    <a:schemeClr val="bg1"/>
                  </a:solidFill>
                </a:rPr>
                <a:t>be used </a:t>
              </a:r>
              <a:r>
                <a:rPr lang="en-US" sz="900" b="0" i="0" baseline="0" noProof="0">
                  <a:solidFill>
                    <a:schemeClr val="bg1"/>
                  </a:solidFill>
                </a:rPr>
                <a:t>even though it’s inserted after the “Layouts not for use” indicator.</a:t>
              </a:r>
            </a:p>
          </p:txBody>
        </p:sp>
        <p:pic>
          <p:nvPicPr>
            <p:cNvPr id="21" name="Picture 20">
              <a:extLst>
                <a:ext uri="{FF2B5EF4-FFF2-40B4-BE49-F238E27FC236}">
                  <a16:creationId xmlns:a16="http://schemas.microsoft.com/office/drawing/2014/main" id="{E74015AF-5BDD-4E86-92B4-B4A59D4D1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1559" t="42255" r="27044" b="1"/>
            <a:stretch/>
          </p:blipFill>
          <p:spPr>
            <a:xfrm>
              <a:off x="12438164" y="5403123"/>
              <a:ext cx="1640362" cy="1386360"/>
            </a:xfrm>
            <a:prstGeom prst="rect">
              <a:avLst/>
            </a:prstGeom>
          </p:spPr>
        </p:pic>
        <p:sp>
          <p:nvSpPr>
            <p:cNvPr id="22" name="Rectangle 21">
              <a:extLst>
                <a:ext uri="{FF2B5EF4-FFF2-40B4-BE49-F238E27FC236}">
                  <a16:creationId xmlns:a16="http://schemas.microsoft.com/office/drawing/2014/main" id="{3337F90C-1B91-483C-8679-905EA35605AF}"/>
                </a:ext>
              </a:extLst>
            </p:cNvPr>
            <p:cNvSpPr/>
            <p:nvPr userDrawn="1"/>
          </p:nvSpPr>
          <p:spPr bwMode="gray">
            <a:xfrm>
              <a:off x="13327856" y="6384130"/>
              <a:ext cx="478631" cy="276225"/>
            </a:xfrm>
            <a:prstGeom prst="rect">
              <a:avLst/>
            </a:prstGeom>
            <a:noFill/>
            <a:ln w="63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3" name="Graphic 3" descr="Checkmark">
              <a:extLst>
                <a:ext uri="{FF2B5EF4-FFF2-40B4-BE49-F238E27FC236}">
                  <a16:creationId xmlns:a16="http://schemas.microsoft.com/office/drawing/2014/main" id="{5CB2CD02-08E3-463D-86CB-4783865F1AAC}"/>
                </a:ext>
              </a:extLst>
            </p:cNvPr>
            <p:cNvSpPr>
              <a:spLocks noChangeAspect="1"/>
            </p:cNvSpPr>
            <p:nvPr userDrawn="1"/>
          </p:nvSpPr>
          <p:spPr bwMode="gray">
            <a:xfrm>
              <a:off x="13459239" y="6434594"/>
              <a:ext cx="215866" cy="175298"/>
            </a:xfrm>
            <a:custGeom>
              <a:avLst/>
              <a:gdLst>
                <a:gd name="connsiteX0" fmla="*/ 530288 w 549402"/>
                <a:gd name="connsiteY0" fmla="*/ 19131 h 446152"/>
                <a:gd name="connsiteX1" fmla="*/ 530288 w 549402"/>
                <a:gd name="connsiteY1" fmla="*/ 19131 h 446152"/>
                <a:gd name="connsiteX2" fmla="*/ 437838 w 549402"/>
                <a:gd name="connsiteY2" fmla="*/ 19131 h 446152"/>
                <a:gd name="connsiteX3" fmla="*/ 195577 w 549402"/>
                <a:gd name="connsiteY3" fmla="*/ 261392 h 446152"/>
                <a:gd name="connsiteX4" fmla="*/ 111582 w 549402"/>
                <a:gd name="connsiteY4" fmla="*/ 177397 h 446152"/>
                <a:gd name="connsiteX5" fmla="*/ 19131 w 549402"/>
                <a:gd name="connsiteY5" fmla="*/ 177397 h 446152"/>
                <a:gd name="connsiteX6" fmla="*/ 19131 w 549402"/>
                <a:gd name="connsiteY6" fmla="*/ 269848 h 446152"/>
                <a:gd name="connsiteX7" fmla="*/ 195436 w 549402"/>
                <a:gd name="connsiteY7" fmla="*/ 446152 h 446152"/>
                <a:gd name="connsiteX8" fmla="*/ 530147 w 549402"/>
                <a:gd name="connsiteY8" fmla="*/ 111441 h 446152"/>
                <a:gd name="connsiteX9" fmla="*/ 530288 w 549402"/>
                <a:gd name="connsiteY9" fmla="*/ 19131 h 44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9402" h="446152">
                  <a:moveTo>
                    <a:pt x="530288" y="19131"/>
                  </a:moveTo>
                  <a:lnTo>
                    <a:pt x="530288" y="19131"/>
                  </a:lnTo>
                  <a:cubicBezTo>
                    <a:pt x="504780" y="-6377"/>
                    <a:pt x="463346" y="-6377"/>
                    <a:pt x="437838" y="19131"/>
                  </a:cubicBezTo>
                  <a:lnTo>
                    <a:pt x="195577" y="261392"/>
                  </a:lnTo>
                  <a:lnTo>
                    <a:pt x="111582" y="177397"/>
                  </a:lnTo>
                  <a:cubicBezTo>
                    <a:pt x="86074" y="151888"/>
                    <a:pt x="44640" y="151888"/>
                    <a:pt x="19131" y="177397"/>
                  </a:cubicBezTo>
                  <a:cubicBezTo>
                    <a:pt x="-6377" y="202905"/>
                    <a:pt x="-6377" y="244339"/>
                    <a:pt x="19131" y="269848"/>
                  </a:cubicBezTo>
                  <a:lnTo>
                    <a:pt x="195436" y="446152"/>
                  </a:lnTo>
                  <a:lnTo>
                    <a:pt x="530147" y="111441"/>
                  </a:lnTo>
                  <a:cubicBezTo>
                    <a:pt x="555797" y="85933"/>
                    <a:pt x="555797" y="44640"/>
                    <a:pt x="530288" y="19131"/>
                  </a:cubicBezTo>
                  <a:close/>
                </a:path>
              </a:pathLst>
            </a:custGeom>
            <a:solidFill>
              <a:srgbClr val="007000"/>
            </a:solidFill>
            <a:ln w="14089" cap="flat">
              <a:noFill/>
              <a:prstDash val="solid"/>
              <a:miter/>
            </a:ln>
          </p:spPr>
          <p:txBody>
            <a:bodyPr rtlCol="0" anchor="ctr"/>
            <a:lstStyle/>
            <a:p>
              <a:endParaRPr lang="en-US"/>
            </a:p>
          </p:txBody>
        </p:sp>
      </p:grpSp>
      <p:pic>
        <p:nvPicPr>
          <p:cNvPr id="15" name="Optum logo" descr="Optum">
            <a:extLst>
              <a:ext uri="{FF2B5EF4-FFF2-40B4-BE49-F238E27FC236}">
                <a16:creationId xmlns:a16="http://schemas.microsoft.com/office/drawing/2014/main" id="{B1312674-A8BF-432E-AF69-5FAB5265C1F3}"/>
              </a:ext>
              <a:ext uri="{C183D7F6-B498-43B3-948B-1728B52AA6E4}">
                <adec:decorative xmlns:adec="http://schemas.microsoft.com/office/drawing/2017/decorative" val="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n individual sitting in a medical exam room listening to a medical professional.">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6018276" y="0"/>
            <a:ext cx="6172200" cy="6858000"/>
          </a:xfrm>
          <a:prstGeom prst="rect">
            <a:avLst/>
          </a:prstGeom>
        </p:spPr>
      </p:pic>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Tree>
    <p:extLst>
      <p:ext uri="{BB962C8B-B14F-4D97-AF65-F5344CB8AC3E}">
        <p14:creationId xmlns:p14="http://schemas.microsoft.com/office/powerpoint/2010/main" val="421700796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23859"/>
            <a:ext cx="609600" cy="182880"/>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227914206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24768553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426821"/>
            <a:ext cx="10515600" cy="304699"/>
          </a:xfrm>
          <a:prstGeom prst="rect">
            <a:avLst/>
          </a:prstGeom>
        </p:spPr>
        <p:txBody>
          <a:bodyPr anchor="b"/>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6" name="Text Placeholder 5"/>
          <p:cNvSpPr>
            <a:spLocks noGrp="1"/>
          </p:cNvSpPr>
          <p:nvPr>
            <p:ph type="body" sz="quarter" idx="11"/>
          </p:nvPr>
        </p:nvSpPr>
        <p:spPr>
          <a:xfrm>
            <a:off x="5791200" y="2133600"/>
            <a:ext cx="5892800" cy="3124200"/>
          </a:xfrm>
          <a:prstGeom prst="rect">
            <a:avLst/>
          </a:prstGeom>
          <a:solidFill>
            <a:schemeClr val="accent6">
              <a:lumMod val="20000"/>
              <a:lumOff val="80000"/>
            </a:schemeClr>
          </a:solidFill>
        </p:spPr>
        <p:txBody>
          <a:bodyPr tIns="91440" bIns="91440" anchor="ctr"/>
          <a:lstStyle>
            <a:lvl1pPr marL="0" indent="0">
              <a:buNone/>
              <a:defRPr sz="1400" b="1"/>
            </a:lvl1pPr>
            <a:lvl2pPr>
              <a:defRPr sz="1400"/>
            </a:lvl2pPr>
            <a:lvl3pPr>
              <a:defRPr sz="1400"/>
            </a:lvl3pPr>
            <a:lvl4pPr>
              <a:defRPr sz="1400"/>
            </a:lvl4pPr>
            <a:lvl5pPr>
              <a:defRPr sz="14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8015736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3</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207033840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053062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9/2024</a:t>
            </a:fld>
            <a:endParaRPr lang="en-US"/>
          </a:p>
        </p:txBody>
      </p:sp>
    </p:spTree>
    <p:extLst>
      <p:ext uri="{BB962C8B-B14F-4D97-AF65-F5344CB8AC3E}">
        <p14:creationId xmlns:p14="http://schemas.microsoft.com/office/powerpoint/2010/main" val="43663334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Tree>
    <p:extLst>
      <p:ext uri="{BB962C8B-B14F-4D97-AF65-F5344CB8AC3E}">
        <p14:creationId xmlns:p14="http://schemas.microsoft.com/office/powerpoint/2010/main" val="171414488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grpSp>
        <p:nvGrpSpPr>
          <p:cNvPr id="14" name="Group 13">
            <a:extLst>
              <a:ext uri="{FF2B5EF4-FFF2-40B4-BE49-F238E27FC236}">
                <a16:creationId xmlns:a16="http://schemas.microsoft.com/office/drawing/2014/main" id="{73C2F6C1-998B-8678-2054-1CEBF9F632F9}"/>
              </a:ext>
            </a:extLst>
          </p:cNvPr>
          <p:cNvGrpSpPr/>
          <p:nvPr userDrawn="1"/>
        </p:nvGrpSpPr>
        <p:grpSpPr>
          <a:xfrm>
            <a:off x="457200" y="5721954"/>
            <a:ext cx="2400300" cy="605790"/>
            <a:chOff x="457200" y="4823460"/>
            <a:chExt cx="2966632" cy="605790"/>
          </a:xfrm>
        </p:grpSpPr>
        <p:sp>
          <p:nvSpPr>
            <p:cNvPr id="13" name="Freeform 12">
              <a:hlinkClick r:id="" action="ppaction://hlinkshowjump?jump=nextslide"/>
              <a:extLst>
                <a:ext uri="{FF2B5EF4-FFF2-40B4-BE49-F238E27FC236}">
                  <a16:creationId xmlns:a16="http://schemas.microsoft.com/office/drawing/2014/main" id="{1B858B6E-030F-98C4-122C-8C57005ADD9D}"/>
                </a:ext>
              </a:extLst>
            </p:cNvPr>
            <p:cNvSpPr/>
            <p:nvPr userDrawn="1"/>
          </p:nvSpPr>
          <p:spPr bwMode="gray">
            <a:xfrm>
              <a:off x="457200" y="4823460"/>
              <a:ext cx="2966632" cy="605790"/>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0" name="TextBox 9">
              <a:extLst>
                <a:ext uri="{FF2B5EF4-FFF2-40B4-BE49-F238E27FC236}">
                  <a16:creationId xmlns:a16="http://schemas.microsoft.com/office/drawing/2014/main" id="{F70B0789-6BC1-2F0F-D010-4B5589AA578B}"/>
                </a:ext>
              </a:extLst>
            </p:cNvPr>
            <p:cNvSpPr txBox="1"/>
            <p:nvPr userDrawn="1"/>
          </p:nvSpPr>
          <p:spPr bwMode="gray">
            <a:xfrm>
              <a:off x="457200" y="4957078"/>
              <a:ext cx="2966632" cy="338554"/>
            </a:xfrm>
            <a:prstGeom prst="rect">
              <a:avLst/>
            </a:prstGeom>
            <a:noFill/>
          </p:spPr>
          <p:txBody>
            <a:bodyPr vert="horz" wrap="square" lIns="0" tIns="0" rIns="0" bIns="0" rtlCol="0">
              <a:spAutoFit/>
            </a:bodyPr>
            <a:lstStyle/>
            <a:p>
              <a:pPr algn="ctr">
                <a:spcBef>
                  <a:spcPts val="600"/>
                </a:spcBef>
              </a:pPr>
              <a:r>
                <a:rPr lang="en-US" sz="2200" b="1">
                  <a:solidFill>
                    <a:schemeClr val="bg1"/>
                  </a:solidFill>
                </a:rPr>
                <a:t>Get started</a:t>
              </a:r>
            </a:p>
          </p:txBody>
        </p:sp>
      </p:grpSp>
      <p:sp>
        <p:nvSpPr>
          <p:cNvPr id="31" name="Freeform 30">
            <a:extLst>
              <a:ext uri="{FF2B5EF4-FFF2-40B4-BE49-F238E27FC236}">
                <a16:creationId xmlns:a16="http://schemas.microsoft.com/office/drawing/2014/main" id="{2A917D01-1452-D576-8CA6-1857A9CB5FE9}"/>
              </a:ext>
            </a:extLst>
          </p:cNvPr>
          <p:cNvSpPr/>
          <p:nvPr userDrawn="1"/>
        </p:nvSpPr>
        <p:spPr bwMode="gray">
          <a:xfrm>
            <a:off x="5755180" y="0"/>
            <a:ext cx="6449291" cy="6858000"/>
          </a:xfrm>
          <a:custGeom>
            <a:avLst/>
            <a:gdLst>
              <a:gd name="connsiteX0" fmla="*/ 1815398 w 6449291"/>
              <a:gd name="connsiteY0" fmla="*/ 0 h 6858000"/>
              <a:gd name="connsiteX1" fmla="*/ 6449291 w 6449291"/>
              <a:gd name="connsiteY1" fmla="*/ 0 h 6858000"/>
              <a:gd name="connsiteX2" fmla="*/ 6449291 w 6449291"/>
              <a:gd name="connsiteY2" fmla="*/ 6858000 h 6858000"/>
              <a:gd name="connsiteX3" fmla="*/ 1815398 w 6449291"/>
              <a:gd name="connsiteY3" fmla="*/ 6858000 h 6858000"/>
              <a:gd name="connsiteX4" fmla="*/ 1665371 w 6449291"/>
              <a:gd name="connsiteY4" fmla="*/ 6751314 h 6858000"/>
              <a:gd name="connsiteX5" fmla="*/ 0 w 6449291"/>
              <a:gd name="connsiteY5" fmla="*/ 3429000 h 6858000"/>
              <a:gd name="connsiteX6" fmla="*/ 1665371 w 6449291"/>
              <a:gd name="connsiteY6" fmla="*/ 106686 h 6858000"/>
              <a:gd name="connsiteX7" fmla="*/ 1815398 w 644929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9291" h="6858000">
                <a:moveTo>
                  <a:pt x="1815398" y="0"/>
                </a:moveTo>
                <a:lnTo>
                  <a:pt x="6449291" y="0"/>
                </a:lnTo>
                <a:lnTo>
                  <a:pt x="6449291" y="6858000"/>
                </a:lnTo>
                <a:lnTo>
                  <a:pt x="1815398" y="6858000"/>
                </a:lnTo>
                <a:lnTo>
                  <a:pt x="1665371" y="6751314"/>
                </a:lnTo>
                <a:cubicBezTo>
                  <a:pt x="654388" y="5995246"/>
                  <a:pt x="0" y="4788543"/>
                  <a:pt x="0" y="3429000"/>
                </a:cubicBezTo>
                <a:cubicBezTo>
                  <a:pt x="0" y="2069457"/>
                  <a:pt x="654388" y="862754"/>
                  <a:pt x="1665371" y="106686"/>
                </a:cubicBezTo>
                <a:lnTo>
                  <a:pt x="1815398" y="0"/>
                </a:lnTo>
                <a:close/>
              </a:path>
            </a:pathLst>
          </a:custGeom>
          <a:blipFill>
            <a:blip r:embed="rId4">
              <a:extLst>
                <a:ext uri="{96DAC541-7B7A-43D3-8B79-37D633B846F1}">
                  <asvg:svgBlip xmlns:asvg="http://schemas.microsoft.com/office/drawing/2016/SVG/main" r:embed="rId5"/>
                </a:ext>
              </a:extLst>
            </a:blip>
            <a:stretch>
              <a:fillRect/>
            </a:stretch>
          </a:bli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47081141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Tree>
    <p:extLst>
      <p:ext uri="{BB962C8B-B14F-4D97-AF65-F5344CB8AC3E}">
        <p14:creationId xmlns:p14="http://schemas.microsoft.com/office/powerpoint/2010/main" val="219922078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2523154191"/>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Tree>
    <p:extLst>
      <p:ext uri="{BB962C8B-B14F-4D97-AF65-F5344CB8AC3E}">
        <p14:creationId xmlns:p14="http://schemas.microsoft.com/office/powerpoint/2010/main" val="419787982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9/2024</a:t>
            </a:fld>
            <a:endParaRPr lang="en-US"/>
          </a:p>
        </p:txBody>
      </p:sp>
    </p:spTree>
    <p:extLst>
      <p:ext uri="{BB962C8B-B14F-4D97-AF65-F5344CB8AC3E}">
        <p14:creationId xmlns:p14="http://schemas.microsoft.com/office/powerpoint/2010/main" val="198684925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userDrawn="1"/>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Tree>
    <p:extLst>
      <p:ext uri="{BB962C8B-B14F-4D97-AF65-F5344CB8AC3E}">
        <p14:creationId xmlns:p14="http://schemas.microsoft.com/office/powerpoint/2010/main" val="1767473591"/>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759592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9/2024</a:t>
            </a:fld>
            <a:endParaRPr lang="en-US"/>
          </a:p>
        </p:txBody>
      </p:sp>
    </p:spTree>
    <p:extLst>
      <p:ext uri="{BB962C8B-B14F-4D97-AF65-F5344CB8AC3E}">
        <p14:creationId xmlns:p14="http://schemas.microsoft.com/office/powerpoint/2010/main" val="15625252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9/2024</a:t>
            </a:fld>
            <a:endParaRPr lang="en-US"/>
          </a:p>
        </p:txBody>
      </p:sp>
    </p:spTree>
    <p:extLst>
      <p:ext uri="{BB962C8B-B14F-4D97-AF65-F5344CB8AC3E}">
        <p14:creationId xmlns:p14="http://schemas.microsoft.com/office/powerpoint/2010/main" val="28730279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Home Master</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106580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9/2024</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 action="ppaction://noaction"/>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 action="ppaction://noaction"/>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 action="ppaction://noaction"/>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 action="ppaction://noaction"/>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 action="ppaction://noaction"/>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2"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2"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258030655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Why evaluate</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931784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grpSp>
        <p:nvGrpSpPr>
          <p:cNvPr id="62" name="Group 61">
            <a:extLst>
              <a:ext uri="{FF2B5EF4-FFF2-40B4-BE49-F238E27FC236}">
                <a16:creationId xmlns:a16="http://schemas.microsoft.com/office/drawing/2014/main" id="{F66CA77A-4286-AD29-EA13-383138B2F6D2}"/>
              </a:ext>
            </a:extLst>
          </p:cNvPr>
          <p:cNvGrpSpPr/>
          <p:nvPr userDrawn="1"/>
        </p:nvGrpSpPr>
        <p:grpSpPr>
          <a:xfrm>
            <a:off x="0" y="6263640"/>
            <a:ext cx="12192000" cy="594360"/>
            <a:chOff x="0" y="6263640"/>
            <a:chExt cx="12192000" cy="594360"/>
          </a:xfrm>
        </p:grpSpPr>
        <p:sp>
          <p:nvSpPr>
            <p:cNvPr id="63" name="Rectangle 62">
              <a:extLst>
                <a:ext uri="{FF2B5EF4-FFF2-40B4-BE49-F238E27FC236}">
                  <a16:creationId xmlns:a16="http://schemas.microsoft.com/office/drawing/2014/main" id="{008FB8DE-877F-ECA0-E2DE-8C7368D2F2A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64" name="Group 63">
              <a:extLst>
                <a:ext uri="{FF2B5EF4-FFF2-40B4-BE49-F238E27FC236}">
                  <a16:creationId xmlns:a16="http://schemas.microsoft.com/office/drawing/2014/main" id="{B0C56835-688E-0CEC-D72C-4C1E956960B5}"/>
                </a:ext>
              </a:extLst>
            </p:cNvPr>
            <p:cNvGrpSpPr/>
            <p:nvPr userDrawn="1"/>
          </p:nvGrpSpPr>
          <p:grpSpPr>
            <a:xfrm>
              <a:off x="10470557" y="6414521"/>
              <a:ext cx="1137612" cy="292599"/>
              <a:chOff x="10470557" y="6421187"/>
              <a:chExt cx="1137612" cy="292599"/>
            </a:xfrm>
          </p:grpSpPr>
          <p:grpSp>
            <p:nvGrpSpPr>
              <p:cNvPr id="66" name="Group 65">
                <a:extLst>
                  <a:ext uri="{FF2B5EF4-FFF2-40B4-BE49-F238E27FC236}">
                    <a16:creationId xmlns:a16="http://schemas.microsoft.com/office/drawing/2014/main" id="{6CD09D0A-BC29-213A-A3CA-194512814F2C}"/>
                  </a:ext>
                </a:extLst>
              </p:cNvPr>
              <p:cNvGrpSpPr/>
              <p:nvPr userDrawn="1"/>
            </p:nvGrpSpPr>
            <p:grpSpPr>
              <a:xfrm>
                <a:off x="10470557" y="6421187"/>
                <a:ext cx="295764" cy="292598"/>
                <a:chOff x="10470557" y="5875580"/>
                <a:chExt cx="295764" cy="292598"/>
              </a:xfrm>
            </p:grpSpPr>
            <p:sp>
              <p:nvSpPr>
                <p:cNvPr id="77" name="Freeform 76">
                  <a:hlinkClick r:id="" action="ppaction://hlinkshowjump?jump=previousslide"/>
                  <a:extLst>
                    <a:ext uri="{FF2B5EF4-FFF2-40B4-BE49-F238E27FC236}">
                      <a16:creationId xmlns:a16="http://schemas.microsoft.com/office/drawing/2014/main" id="{A4AD2269-EBE5-A859-8A85-DBAF211DF354}"/>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8" name="Group 77">
                  <a:extLst>
                    <a:ext uri="{FF2B5EF4-FFF2-40B4-BE49-F238E27FC236}">
                      <a16:creationId xmlns:a16="http://schemas.microsoft.com/office/drawing/2014/main" id="{447EC931-D99C-97BB-DA71-108CE9ED1E71}"/>
                    </a:ext>
                  </a:extLst>
                </p:cNvPr>
                <p:cNvGrpSpPr/>
                <p:nvPr userDrawn="1"/>
              </p:nvGrpSpPr>
              <p:grpSpPr>
                <a:xfrm>
                  <a:off x="10470557" y="5875580"/>
                  <a:ext cx="295764" cy="292598"/>
                  <a:chOff x="10470558" y="5855052"/>
                  <a:chExt cx="295764" cy="292598"/>
                </a:xfrm>
              </p:grpSpPr>
              <p:sp>
                <p:nvSpPr>
                  <p:cNvPr id="79" name="Freeform 78">
                    <a:hlinkClick r:id="" action="ppaction://hlinkshowjump?jump=lastslideviewed"/>
                    <a:extLst>
                      <a:ext uri="{FF2B5EF4-FFF2-40B4-BE49-F238E27FC236}">
                        <a16:creationId xmlns:a16="http://schemas.microsoft.com/office/drawing/2014/main" id="{27EA49E2-86D3-710B-AB83-A1887A7A3942}"/>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1090AB4A-6F2D-851A-C5D1-25E9F9FC0E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67" name="Group 66">
                <a:extLst>
                  <a:ext uri="{FF2B5EF4-FFF2-40B4-BE49-F238E27FC236}">
                    <a16:creationId xmlns:a16="http://schemas.microsoft.com/office/drawing/2014/main" id="{6364C61C-7B74-6B53-0F1E-7FEAFA525BC6}"/>
                  </a:ext>
                </a:extLst>
              </p:cNvPr>
              <p:cNvGrpSpPr/>
              <p:nvPr userDrawn="1"/>
            </p:nvGrpSpPr>
            <p:grpSpPr>
              <a:xfrm>
                <a:off x="11312405" y="6421187"/>
                <a:ext cx="295764" cy="292599"/>
                <a:chOff x="11312405" y="5875587"/>
                <a:chExt cx="295764" cy="292599"/>
              </a:xfrm>
            </p:grpSpPr>
            <p:sp>
              <p:nvSpPr>
                <p:cNvPr id="73" name="Freeform 72">
                  <a:hlinkClick r:id="" action="ppaction://hlinkshowjump?jump=nextslide"/>
                  <a:extLst>
                    <a:ext uri="{FF2B5EF4-FFF2-40B4-BE49-F238E27FC236}">
                      <a16:creationId xmlns:a16="http://schemas.microsoft.com/office/drawing/2014/main" id="{3D0AE064-D90E-73E4-48AE-83D1BF1DBE8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4" name="Group 73">
                  <a:extLst>
                    <a:ext uri="{FF2B5EF4-FFF2-40B4-BE49-F238E27FC236}">
                      <a16:creationId xmlns:a16="http://schemas.microsoft.com/office/drawing/2014/main" id="{F1DA0CCB-E40E-7A73-8FA8-D3054DAC4C4D}"/>
                    </a:ext>
                  </a:extLst>
                </p:cNvPr>
                <p:cNvGrpSpPr/>
                <p:nvPr userDrawn="1"/>
              </p:nvGrpSpPr>
              <p:grpSpPr>
                <a:xfrm>
                  <a:off x="11312405" y="5875587"/>
                  <a:ext cx="295764" cy="292599"/>
                  <a:chOff x="11297334" y="5855058"/>
                  <a:chExt cx="295764" cy="292599"/>
                </a:xfrm>
              </p:grpSpPr>
              <p:sp>
                <p:nvSpPr>
                  <p:cNvPr id="75" name="Freeform 74">
                    <a:hlinkClick r:id="" action="ppaction://hlinkshowjump?jump=nextslide"/>
                    <a:extLst>
                      <a:ext uri="{FF2B5EF4-FFF2-40B4-BE49-F238E27FC236}">
                        <a16:creationId xmlns:a16="http://schemas.microsoft.com/office/drawing/2014/main" id="{29B1742A-63B6-D8EB-F4BC-5F303EA437E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6" name="Freeform 75">
                    <a:hlinkClick r:id="" action="ppaction://hlinkshowjump?jump=nextslide"/>
                    <a:extLst>
                      <a:ext uri="{FF2B5EF4-FFF2-40B4-BE49-F238E27FC236}">
                        <a16:creationId xmlns:a16="http://schemas.microsoft.com/office/drawing/2014/main" id="{0D4CC888-76AB-7F4C-54F9-989A69B14D93}"/>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0E8C6710-886E-E6C4-B8A3-638DFF00815C}"/>
                  </a:ext>
                </a:extLst>
              </p:cNvPr>
              <p:cNvGrpSpPr/>
              <p:nvPr userDrawn="1"/>
            </p:nvGrpSpPr>
            <p:grpSpPr>
              <a:xfrm>
                <a:off x="10891481" y="6421187"/>
                <a:ext cx="295764" cy="292599"/>
                <a:chOff x="10883946" y="5644499"/>
                <a:chExt cx="295764" cy="292599"/>
              </a:xfrm>
            </p:grpSpPr>
            <p:sp>
              <p:nvSpPr>
                <p:cNvPr id="69" name="Freeform 68">
                  <a:hlinkClick r:id="rId2" action="ppaction://hlinksldjump"/>
                  <a:extLst>
                    <a:ext uri="{FF2B5EF4-FFF2-40B4-BE49-F238E27FC236}">
                      <a16:creationId xmlns:a16="http://schemas.microsoft.com/office/drawing/2014/main" id="{D3CAA277-C6B5-364F-9A68-734C5187CBA2}"/>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0" name="Group 69">
                  <a:extLst>
                    <a:ext uri="{FF2B5EF4-FFF2-40B4-BE49-F238E27FC236}">
                      <a16:creationId xmlns:a16="http://schemas.microsoft.com/office/drawing/2014/main" id="{337EEE6F-447F-6158-B6A1-8130DCBDB918}"/>
                    </a:ext>
                  </a:extLst>
                </p:cNvPr>
                <p:cNvGrpSpPr/>
                <p:nvPr userDrawn="1"/>
              </p:nvGrpSpPr>
              <p:grpSpPr>
                <a:xfrm>
                  <a:off x="10883946" y="5644499"/>
                  <a:ext cx="295764" cy="292599"/>
                  <a:chOff x="10899016" y="5855059"/>
                  <a:chExt cx="295764" cy="292599"/>
                </a:xfrm>
              </p:grpSpPr>
              <p:sp>
                <p:nvSpPr>
                  <p:cNvPr id="71" name="Freeform 70">
                    <a:extLst>
                      <a:ext uri="{FF2B5EF4-FFF2-40B4-BE49-F238E27FC236}">
                        <a16:creationId xmlns:a16="http://schemas.microsoft.com/office/drawing/2014/main" id="{3BCEEC91-4616-3371-EEDC-E9FB14FB6F8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2" name="Freeform 71">
                    <a:hlinkClick r:id="rId2" action="ppaction://hlinksldjump"/>
                    <a:extLst>
                      <a:ext uri="{FF2B5EF4-FFF2-40B4-BE49-F238E27FC236}">
                        <a16:creationId xmlns:a16="http://schemas.microsoft.com/office/drawing/2014/main" id="{31C7E4C3-98AF-A47B-662D-15BF33DCCD6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5" name="Graphic 64">
              <a:extLst>
                <a:ext uri="{FF2B5EF4-FFF2-40B4-BE49-F238E27FC236}">
                  <a16:creationId xmlns:a16="http://schemas.microsoft.com/office/drawing/2014/main" id="{ED8DE116-B539-4BF7-FDFA-6916FD47DFE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2" name="Rounded Rectangle 1">
            <a:hlinkClick r:id="rId2" action="ppaction://hlinksldjump"/>
            <a:extLst>
              <a:ext uri="{FF2B5EF4-FFF2-40B4-BE49-F238E27FC236}">
                <a16:creationId xmlns:a16="http://schemas.microsoft.com/office/drawing/2014/main" id="{4B113B11-A347-3CED-0A84-7703B0B16239}"/>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4" name="Rounded Rectangle 3">
            <a:hlinkClick r:id="" action="ppaction://noaction"/>
            <a:extLst>
              <a:ext uri="{FF2B5EF4-FFF2-40B4-BE49-F238E27FC236}">
                <a16:creationId xmlns:a16="http://schemas.microsoft.com/office/drawing/2014/main" id="{9885CC4F-57A6-4B52-22CD-4B1686BD12B3}"/>
              </a:ext>
            </a:extLst>
          </p:cNvPr>
          <p:cNvSpPr/>
          <p:nvPr userDrawn="1"/>
        </p:nvSpPr>
        <p:spPr bwMode="gray">
          <a:xfrm>
            <a:off x="1476747"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Why evaluate</a:t>
            </a:r>
          </a:p>
        </p:txBody>
      </p:sp>
      <p:sp>
        <p:nvSpPr>
          <p:cNvPr id="5" name="Rounded Rectangle 4">
            <a:hlinkClick r:id="" action="ppaction://noaction"/>
            <a:extLst>
              <a:ext uri="{FF2B5EF4-FFF2-40B4-BE49-F238E27FC236}">
                <a16:creationId xmlns:a16="http://schemas.microsoft.com/office/drawing/2014/main" id="{327C5CF1-88ED-A122-AEF8-63E6AA03E2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6" name="Rounded Rectangle 5">
            <a:hlinkClick r:id="" action="ppaction://noaction"/>
            <a:extLst>
              <a:ext uri="{FF2B5EF4-FFF2-40B4-BE49-F238E27FC236}">
                <a16:creationId xmlns:a16="http://schemas.microsoft.com/office/drawing/2014/main" id="{A6B8EF91-89C8-1173-13F2-9D1C5DC614CF}"/>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7" name="Rounded Rectangle 6">
            <a:hlinkClick r:id="" action="ppaction://noaction"/>
            <a:extLst>
              <a:ext uri="{FF2B5EF4-FFF2-40B4-BE49-F238E27FC236}">
                <a16:creationId xmlns:a16="http://schemas.microsoft.com/office/drawing/2014/main" id="{0401E040-2397-8EB5-8FFC-5F362E0C91BD}"/>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8" name="Rounded Rectangle 7">
            <a:hlinkClick r:id="" action="ppaction://noaction"/>
            <a:extLst>
              <a:ext uri="{FF2B5EF4-FFF2-40B4-BE49-F238E27FC236}">
                <a16:creationId xmlns:a16="http://schemas.microsoft.com/office/drawing/2014/main" id="{97DC0897-0B59-6FB9-5773-C3A2DC9829B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9" name="Rounded Rectangle 8">
            <a:hlinkClick r:id="" action="ppaction://noaction"/>
            <a:extLst>
              <a:ext uri="{FF2B5EF4-FFF2-40B4-BE49-F238E27FC236}">
                <a16:creationId xmlns:a16="http://schemas.microsoft.com/office/drawing/2014/main" id="{E19111B1-5468-B482-521D-020A7DB1C0A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10" name="Rounded Rectangle 9">
            <a:hlinkClick r:id="" action="ppaction://noaction"/>
            <a:extLst>
              <a:ext uri="{FF2B5EF4-FFF2-40B4-BE49-F238E27FC236}">
                <a16:creationId xmlns:a16="http://schemas.microsoft.com/office/drawing/2014/main" id="{24065D56-4FEE-EF47-BE51-ADE1D4A87A0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90744191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102915957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2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Measur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223233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 action="ppaction://noaction"/>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 action="ppaction://noaction"/>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 action="ppaction://noaction"/>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 action="ppaction://noaction"/>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 action="ppaction://noaction"/>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21934966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3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ings to think about</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872481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 action="ppaction://noaction"/>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56615710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4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Design</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135001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 action="ppaction://noaction"/>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62349456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5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Analysi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696120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 action="ppaction://noaction"/>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 action="ppaction://noaction"/>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 action="ppaction://noaction"/>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 action="ppaction://noaction"/>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 action="ppaction://noaction"/>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2162663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6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Conclusion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504760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81270285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endParaRPr lang="en-US"/>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223970769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7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Resourc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713394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6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163620113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9/2024</a:t>
            </a:fld>
            <a:endParaRPr lang="en-US"/>
          </a:p>
        </p:txBody>
      </p:sp>
    </p:spTree>
    <p:extLst>
      <p:ext uri="{BB962C8B-B14F-4D97-AF65-F5344CB8AC3E}">
        <p14:creationId xmlns:p14="http://schemas.microsoft.com/office/powerpoint/2010/main" val="197326923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9/2024</a:t>
            </a:fld>
            <a:endParaRPr lang="en-US"/>
          </a:p>
        </p:txBody>
      </p:sp>
    </p:spTree>
    <p:extLst>
      <p:ext uri="{BB962C8B-B14F-4D97-AF65-F5344CB8AC3E}">
        <p14:creationId xmlns:p14="http://schemas.microsoft.com/office/powerpoint/2010/main" val="346410542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9/2024</a:t>
            </a:fld>
            <a:endParaRPr lang="en-US"/>
          </a:p>
        </p:txBody>
      </p:sp>
    </p:spTree>
    <p:extLst>
      <p:ext uri="{BB962C8B-B14F-4D97-AF65-F5344CB8AC3E}">
        <p14:creationId xmlns:p14="http://schemas.microsoft.com/office/powerpoint/2010/main" val="1421389904"/>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591704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Tree>
    <p:extLst>
      <p:ext uri="{BB962C8B-B14F-4D97-AF65-F5344CB8AC3E}">
        <p14:creationId xmlns:p14="http://schemas.microsoft.com/office/powerpoint/2010/main" val="174230599"/>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Tree>
    <p:extLst>
      <p:ext uri="{BB962C8B-B14F-4D97-AF65-F5344CB8AC3E}">
        <p14:creationId xmlns:p14="http://schemas.microsoft.com/office/powerpoint/2010/main" val="2735705247"/>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Tree>
    <p:extLst>
      <p:ext uri="{BB962C8B-B14F-4D97-AF65-F5344CB8AC3E}">
        <p14:creationId xmlns:p14="http://schemas.microsoft.com/office/powerpoint/2010/main" val="1037703755"/>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Tree>
    <p:extLst>
      <p:ext uri="{BB962C8B-B14F-4D97-AF65-F5344CB8AC3E}">
        <p14:creationId xmlns:p14="http://schemas.microsoft.com/office/powerpoint/2010/main" val="125072557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227354322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9/2024</a:t>
            </a:fld>
            <a:endParaRPr lang="en-US"/>
          </a:p>
        </p:txBody>
      </p:sp>
    </p:spTree>
    <p:extLst>
      <p:ext uri="{BB962C8B-B14F-4D97-AF65-F5344CB8AC3E}">
        <p14:creationId xmlns:p14="http://schemas.microsoft.com/office/powerpoint/2010/main" val="107934689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9/2024</a:t>
            </a:fld>
            <a:endParaRPr lang="en-US"/>
          </a:p>
        </p:txBody>
      </p:sp>
    </p:spTree>
    <p:extLst>
      <p:ext uri="{BB962C8B-B14F-4D97-AF65-F5344CB8AC3E}">
        <p14:creationId xmlns:p14="http://schemas.microsoft.com/office/powerpoint/2010/main" val="184646618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18955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spTree>
    <p:extLst>
      <p:ext uri="{BB962C8B-B14F-4D97-AF65-F5344CB8AC3E}">
        <p14:creationId xmlns:p14="http://schemas.microsoft.com/office/powerpoint/2010/main" val="233712870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11899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9/2024</a:t>
            </a:fld>
            <a:endParaRPr lang="en-US"/>
          </a:p>
        </p:txBody>
      </p:sp>
    </p:spTree>
    <p:extLst>
      <p:ext uri="{BB962C8B-B14F-4D97-AF65-F5344CB8AC3E}">
        <p14:creationId xmlns:p14="http://schemas.microsoft.com/office/powerpoint/2010/main" val="354634172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9/2024</a:t>
            </a:fld>
            <a:endParaRPr lang="en-US"/>
          </a:p>
        </p:txBody>
      </p:sp>
    </p:spTree>
    <p:extLst>
      <p:ext uri="{BB962C8B-B14F-4D97-AF65-F5344CB8AC3E}">
        <p14:creationId xmlns:p14="http://schemas.microsoft.com/office/powerpoint/2010/main" val="65224384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9/2024</a:t>
            </a:fld>
            <a:endParaRPr lang="en-US"/>
          </a:p>
        </p:txBody>
      </p:sp>
    </p:spTree>
    <p:extLst>
      <p:ext uri="{BB962C8B-B14F-4D97-AF65-F5344CB8AC3E}">
        <p14:creationId xmlns:p14="http://schemas.microsoft.com/office/powerpoint/2010/main" val="299492394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9/2024</a:t>
            </a:fld>
            <a:endParaRPr lang="en-US"/>
          </a:p>
        </p:txBody>
      </p:sp>
    </p:spTree>
    <p:extLst>
      <p:ext uri="{BB962C8B-B14F-4D97-AF65-F5344CB8AC3E}">
        <p14:creationId xmlns:p14="http://schemas.microsoft.com/office/powerpoint/2010/main" val="5880196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9/2024</a:t>
            </a:fld>
            <a:endParaRPr lang="en-US"/>
          </a:p>
        </p:txBody>
      </p:sp>
    </p:spTree>
    <p:extLst>
      <p:ext uri="{BB962C8B-B14F-4D97-AF65-F5344CB8AC3E}">
        <p14:creationId xmlns:p14="http://schemas.microsoft.com/office/powerpoint/2010/main" val="99951818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endParaRPr lang="en-US"/>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2619674383"/>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9/2024</a:t>
            </a:fld>
            <a:endParaRPr lang="en-US"/>
          </a:p>
        </p:txBody>
      </p:sp>
    </p:spTree>
    <p:extLst>
      <p:ext uri="{BB962C8B-B14F-4D97-AF65-F5344CB8AC3E}">
        <p14:creationId xmlns:p14="http://schemas.microsoft.com/office/powerpoint/2010/main" val="410153577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9/2024</a:t>
            </a:fld>
            <a:endParaRPr lang="en-US"/>
          </a:p>
        </p:txBody>
      </p:sp>
    </p:spTree>
    <p:extLst>
      <p:ext uri="{BB962C8B-B14F-4D97-AF65-F5344CB8AC3E}">
        <p14:creationId xmlns:p14="http://schemas.microsoft.com/office/powerpoint/2010/main" val="356547958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426821"/>
            <a:ext cx="11768976" cy="304699"/>
          </a:xfrm>
          <a:prstGeom prst="rect">
            <a:avLst/>
          </a:prstGeom>
        </p:spPr>
        <p:txBody>
          <a:bodyPr anchor="b"/>
          <a:lstStyle/>
          <a:p>
            <a:r>
              <a:rPr lang="en-US"/>
              <a:t>Click to edit Master title style</a:t>
            </a:r>
            <a:endParaRPr lang="en-GB"/>
          </a:p>
        </p:txBody>
      </p:sp>
      <p:sp>
        <p:nvSpPr>
          <p:cNvPr id="6" name="Text Placeholder 5"/>
          <p:cNvSpPr>
            <a:spLocks noGrp="1"/>
          </p:cNvSpPr>
          <p:nvPr>
            <p:ph type="body" sz="quarter" idx="11"/>
          </p:nvPr>
        </p:nvSpPr>
        <p:spPr>
          <a:xfrm>
            <a:off x="5791200" y="2133600"/>
            <a:ext cx="5892800" cy="3124200"/>
          </a:xfrm>
          <a:prstGeom prst="rect">
            <a:avLst/>
          </a:prstGeom>
          <a:solidFill>
            <a:schemeClr val="accent6">
              <a:lumMod val="20000"/>
              <a:lumOff val="80000"/>
            </a:schemeClr>
          </a:solidFill>
        </p:spPr>
        <p:txBody>
          <a:bodyPr lIns="182880" tIns="182880" rIns="182880" bIns="182880" anchor="ctr"/>
          <a:lstStyle>
            <a:lvl1pPr marL="0" indent="0">
              <a:spcBef>
                <a:spcPts val="600"/>
              </a:spcBef>
              <a:spcAft>
                <a:spcPts val="600"/>
              </a:spcAft>
              <a:buNone/>
              <a:defRPr sz="1400" b="1"/>
            </a:lvl1pPr>
            <a:lvl2pPr>
              <a:spcBef>
                <a:spcPts val="600"/>
              </a:spcBef>
              <a:spcAft>
                <a:spcPts val="600"/>
              </a:spcAft>
              <a:defRPr sz="1400"/>
            </a:lvl2pPr>
            <a:lvl3pPr>
              <a:defRPr sz="1400"/>
            </a:lvl3pPr>
            <a:lvl4pPr>
              <a:defRPr sz="1400"/>
            </a:lvl4pPr>
            <a:lvl5pPr>
              <a:defRPr sz="1400"/>
            </a:lvl5pPr>
          </a:lstStyle>
          <a:p>
            <a:pPr lvl="0"/>
            <a:r>
              <a:rPr lang="en-US"/>
              <a:t>Edit Master text styles</a:t>
            </a:r>
          </a:p>
          <a:p>
            <a:pPr lvl="1"/>
            <a:r>
              <a:rPr lang="en-US"/>
              <a:t>Second level</a:t>
            </a:r>
          </a:p>
        </p:txBody>
      </p:sp>
      <p:sp>
        <p:nvSpPr>
          <p:cNvPr id="7" name="Text Placeholder 40"/>
          <p:cNvSpPr>
            <a:spLocks noGrp="1"/>
          </p:cNvSpPr>
          <p:nvPr>
            <p:ph type="body" sz="quarter" idx="15" hasCustomPrompt="1"/>
          </p:nvPr>
        </p:nvSpPr>
        <p:spPr>
          <a:xfrm>
            <a:off x="10363200" y="1148612"/>
            <a:ext cx="1524000" cy="381000"/>
          </a:xfrm>
          <a:prstGeom prst="rect">
            <a:avLst/>
          </a:prstGeom>
        </p:spPr>
        <p:txBody>
          <a:bodyPr anchor="ctr"/>
          <a:lstStyle>
            <a:lvl1pPr marL="0" indent="0">
              <a:buNone/>
              <a:defRPr sz="1200" i="1"/>
            </a:lvl1pPr>
          </a:lstStyle>
          <a:p>
            <a:pPr lvl="0"/>
            <a:r>
              <a:rPr lang="en-US"/>
              <a:t>Add Time</a:t>
            </a:r>
          </a:p>
        </p:txBody>
      </p:sp>
      <p:grpSp>
        <p:nvGrpSpPr>
          <p:cNvPr id="8" name="Group 7"/>
          <p:cNvGrpSpPr/>
          <p:nvPr userDrawn="1"/>
        </p:nvGrpSpPr>
        <p:grpSpPr>
          <a:xfrm>
            <a:off x="9617817" y="1087112"/>
            <a:ext cx="672000" cy="504000"/>
            <a:chOff x="6705118" y="1309771"/>
            <a:chExt cx="504000" cy="504000"/>
          </a:xfrm>
        </p:grpSpPr>
        <p:sp>
          <p:nvSpPr>
            <p:cNvPr id="9" name="Oval 8"/>
            <p:cNvSpPr/>
            <p:nvPr/>
          </p:nvSpPr>
          <p:spPr bwMode="ltGray">
            <a:xfrm>
              <a:off x="6705118" y="1309771"/>
              <a:ext cx="504000" cy="504000"/>
            </a:xfrm>
            <a:prstGeom prst="ellipse">
              <a:avLst/>
            </a:prstGeom>
            <a:solidFill>
              <a:srgbClr val="005EB8"/>
            </a:solidFill>
            <a:ln w="3175" cap="flat" cmpd="sng" algn="ctr">
              <a:solidFill>
                <a:srgbClr val="005EB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sp>
          <p:nvSpPr>
            <p:cNvPr id="10" name="Oval 9"/>
            <p:cNvSpPr/>
            <p:nvPr/>
          </p:nvSpPr>
          <p:spPr bwMode="ltGray">
            <a:xfrm>
              <a:off x="6766528" y="1371181"/>
              <a:ext cx="381180" cy="381180"/>
            </a:xfrm>
            <a:prstGeom prst="ellipse">
              <a:avLst/>
            </a:prstGeom>
            <a:solidFill>
              <a:srgbClr val="005EB8"/>
            </a:solidFill>
            <a:ln w="381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cxnSp>
          <p:nvCxnSpPr>
            <p:cNvPr id="11" name="Straight Connector 10"/>
            <p:cNvCxnSpPr/>
            <p:nvPr/>
          </p:nvCxnSpPr>
          <p:spPr>
            <a:xfrm>
              <a:off x="6775320" y="1561771"/>
              <a:ext cx="381180" cy="0"/>
            </a:xfrm>
            <a:prstGeom prst="line">
              <a:avLst/>
            </a:prstGeom>
            <a:noFill/>
            <a:ln w="9525" cap="flat" cmpd="sng" algn="ctr">
              <a:solidFill>
                <a:srgbClr val="FFFFFF"/>
              </a:solidFill>
              <a:prstDash val="solid"/>
            </a:ln>
            <a:effectLst/>
          </p:spPr>
        </p:cxnSp>
        <p:cxnSp>
          <p:nvCxnSpPr>
            <p:cNvPr id="12" name="Straight Connector 11"/>
            <p:cNvCxnSpPr/>
            <p:nvPr/>
          </p:nvCxnSpPr>
          <p:spPr>
            <a:xfrm flipV="1">
              <a:off x="6965910" y="1371181"/>
              <a:ext cx="0" cy="381180"/>
            </a:xfrm>
            <a:prstGeom prst="line">
              <a:avLst/>
            </a:prstGeom>
            <a:noFill/>
            <a:ln w="9525" cap="flat" cmpd="sng" algn="ctr">
              <a:solidFill>
                <a:srgbClr val="FFFFFF"/>
              </a:solidFill>
              <a:prstDash val="solid"/>
            </a:ln>
            <a:effectLst/>
          </p:spPr>
        </p:cxnSp>
        <p:sp>
          <p:nvSpPr>
            <p:cNvPr id="13" name="Oval 12"/>
            <p:cNvSpPr/>
            <p:nvPr/>
          </p:nvSpPr>
          <p:spPr bwMode="ltGray">
            <a:xfrm>
              <a:off x="6828507" y="1424368"/>
              <a:ext cx="274807" cy="274807"/>
            </a:xfrm>
            <a:prstGeom prst="ellipse">
              <a:avLst/>
            </a:prstGeom>
            <a:solidFill>
              <a:srgbClr val="005EB8"/>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grpSp>
          <p:nvGrpSpPr>
            <p:cNvPr id="14" name="Group 13"/>
            <p:cNvGrpSpPr/>
            <p:nvPr/>
          </p:nvGrpSpPr>
          <p:grpSpPr>
            <a:xfrm>
              <a:off x="6857008" y="1468872"/>
              <a:ext cx="217805" cy="133046"/>
              <a:chOff x="2173587" y="4641056"/>
              <a:chExt cx="264813" cy="161760"/>
            </a:xfrm>
          </p:grpSpPr>
          <p:cxnSp>
            <p:nvCxnSpPr>
              <p:cNvPr id="15" name="Straight Connector 14"/>
              <p:cNvCxnSpPr/>
              <p:nvPr/>
            </p:nvCxnSpPr>
            <p:spPr>
              <a:xfrm flipV="1">
                <a:off x="2257692" y="4641056"/>
                <a:ext cx="180708" cy="161760"/>
              </a:xfrm>
              <a:prstGeom prst="line">
                <a:avLst/>
              </a:prstGeom>
              <a:noFill/>
              <a:ln w="19050" cap="flat" cmpd="sng" algn="ctr">
                <a:solidFill>
                  <a:srgbClr val="FFFFFF"/>
                </a:solidFill>
                <a:prstDash val="solid"/>
              </a:ln>
              <a:effectLst/>
            </p:spPr>
          </p:cxnSp>
          <p:cxnSp>
            <p:nvCxnSpPr>
              <p:cNvPr id="16" name="Straight Connector 15"/>
              <p:cNvCxnSpPr/>
              <p:nvPr/>
            </p:nvCxnSpPr>
            <p:spPr>
              <a:xfrm flipH="1" flipV="1">
                <a:off x="2173587" y="4723876"/>
                <a:ext cx="105393" cy="32146"/>
              </a:xfrm>
              <a:prstGeom prst="line">
                <a:avLst/>
              </a:prstGeom>
              <a:noFill/>
              <a:ln w="19050" cap="flat" cmpd="sng" algn="ctr">
                <a:solidFill>
                  <a:srgbClr val="FFFFFF"/>
                </a:solidFill>
                <a:prstDash val="solid"/>
              </a:ln>
              <a:effectLst/>
            </p:spPr>
          </p:cxnSp>
          <p:sp>
            <p:nvSpPr>
              <p:cNvPr id="17" name="Oval 16"/>
              <p:cNvSpPr/>
              <p:nvPr/>
            </p:nvSpPr>
            <p:spPr bwMode="ltGray">
              <a:xfrm>
                <a:off x="2277047" y="4742184"/>
                <a:ext cx="45719" cy="45719"/>
              </a:xfrm>
              <a:prstGeom prst="ellipse">
                <a:avLst/>
              </a:prstGeom>
              <a:solidFill>
                <a:srgbClr val="005EB8"/>
              </a:solidFill>
              <a:ln w="127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grpSp>
      </p:grpSp>
      <p:sp>
        <p:nvSpPr>
          <p:cNvPr id="18"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341191922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365371702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B2010ADC-CE51-4E19-8BB2-F5C5528EE742}" type="datetimeFigureOut">
              <a:rPr lang="en-US" smtClean="0"/>
              <a:t>1/9/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4BAD2D60-96E1-4492-BCA6-2032913C8ACA}" type="slidenum">
              <a:rPr lang="en-US" smtClean="0"/>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22236754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146232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B2010ADC-CE51-4E19-8BB2-F5C5528EE742}" type="datetimeFigureOut">
              <a:rPr lang="en-US" smtClean="0"/>
              <a:t>1/9/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8685116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B2010ADC-CE51-4E19-8BB2-F5C5528EE742}" type="datetimeFigureOut">
              <a:rPr lang="en-US" smtClean="0"/>
              <a:t>1/9/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7367820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335988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B2010ADC-CE51-4E19-8BB2-F5C5528EE742}" type="datetimeFigureOut">
              <a:rPr lang="en-US" smtClean="0"/>
              <a:t>1/9/2024</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endParaRPr lang="en-US"/>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4183578019"/>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341072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B2010ADC-CE51-4E19-8BB2-F5C5528EE742}" type="datetimeFigureOut">
              <a:rPr lang="en-US" smtClean="0"/>
              <a:t>1/9/2024</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endParaRPr lang="en-US"/>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12519457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B2010ADC-CE51-4E19-8BB2-F5C5528EE742}" type="datetimeFigureOut">
              <a:rPr lang="en-US" smtClean="0"/>
              <a:t>1/9/2024</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endParaRPr lang="en-US"/>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3577472208"/>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B2010ADC-CE51-4E19-8BB2-F5C5528EE742}" type="datetimeFigureOut">
              <a:rPr lang="en-US" smtClean="0"/>
              <a:t>1/9/2024</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4BAD2D60-96E1-4492-BCA6-2032913C8ACA}"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endParaRPr lang="en-US"/>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96043132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B2010ADC-CE51-4E19-8BB2-F5C5528EE742}" type="datetimeFigureOut">
              <a:rPr lang="en-US" smtClean="0"/>
              <a:t>1/9/2024</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endParaRPr lang="en-US"/>
          </a:p>
        </p:txBody>
      </p:sp>
    </p:spTree>
    <p:extLst>
      <p:ext uri="{BB962C8B-B14F-4D97-AF65-F5344CB8AC3E}">
        <p14:creationId xmlns:p14="http://schemas.microsoft.com/office/powerpoint/2010/main" val="1973702393"/>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586287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2010ADC-CE51-4E19-8BB2-F5C5528EE742}" type="datetimeFigureOut">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48052737"/>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2010ADC-CE51-4E19-8BB2-F5C5528EE742}" type="datetimeFigureOut">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134109332"/>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2010ADC-CE51-4E19-8BB2-F5C5528EE742}" type="datetimeFigureOut">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185860772"/>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2010ADC-CE51-4E19-8BB2-F5C5528EE742}" type="datetimeFigureOut">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359382781"/>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2010ADC-CE51-4E19-8BB2-F5C5528EE742}" type="datetimeFigureOut">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40067849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2719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548497563"/>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2010ADC-CE51-4E19-8BB2-F5C5528EE742}" type="datetimeFigureOut">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13333174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78852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105299765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23859"/>
            <a:ext cx="609600" cy="182880"/>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120411863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3</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418834391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333743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9/2024</a:t>
            </a:fld>
            <a:endParaRPr lang="en-US"/>
          </a:p>
        </p:txBody>
      </p:sp>
    </p:spTree>
    <p:extLst>
      <p:ext uri="{BB962C8B-B14F-4D97-AF65-F5344CB8AC3E}">
        <p14:creationId xmlns:p14="http://schemas.microsoft.com/office/powerpoint/2010/main" val="170759003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Tree>
    <p:extLst>
      <p:ext uri="{BB962C8B-B14F-4D97-AF65-F5344CB8AC3E}">
        <p14:creationId xmlns:p14="http://schemas.microsoft.com/office/powerpoint/2010/main" val="261715974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grpSp>
        <p:nvGrpSpPr>
          <p:cNvPr id="14" name="Group 13">
            <a:extLst>
              <a:ext uri="{FF2B5EF4-FFF2-40B4-BE49-F238E27FC236}">
                <a16:creationId xmlns:a16="http://schemas.microsoft.com/office/drawing/2014/main" id="{73C2F6C1-998B-8678-2054-1CEBF9F632F9}"/>
              </a:ext>
            </a:extLst>
          </p:cNvPr>
          <p:cNvGrpSpPr/>
          <p:nvPr userDrawn="1"/>
        </p:nvGrpSpPr>
        <p:grpSpPr>
          <a:xfrm>
            <a:off x="457200" y="5721954"/>
            <a:ext cx="2400300" cy="605790"/>
            <a:chOff x="457200" y="4823460"/>
            <a:chExt cx="2966632" cy="605790"/>
          </a:xfrm>
        </p:grpSpPr>
        <p:sp>
          <p:nvSpPr>
            <p:cNvPr id="13" name="Freeform 12">
              <a:hlinkClick r:id="" action="ppaction://hlinkshowjump?jump=nextslide"/>
              <a:extLst>
                <a:ext uri="{FF2B5EF4-FFF2-40B4-BE49-F238E27FC236}">
                  <a16:creationId xmlns:a16="http://schemas.microsoft.com/office/drawing/2014/main" id="{1B858B6E-030F-98C4-122C-8C57005ADD9D}"/>
                </a:ext>
              </a:extLst>
            </p:cNvPr>
            <p:cNvSpPr/>
            <p:nvPr userDrawn="1"/>
          </p:nvSpPr>
          <p:spPr bwMode="gray">
            <a:xfrm>
              <a:off x="457200" y="4823460"/>
              <a:ext cx="2966632" cy="605790"/>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0" name="TextBox 9">
              <a:extLst>
                <a:ext uri="{FF2B5EF4-FFF2-40B4-BE49-F238E27FC236}">
                  <a16:creationId xmlns:a16="http://schemas.microsoft.com/office/drawing/2014/main" id="{F70B0789-6BC1-2F0F-D010-4B5589AA578B}"/>
                </a:ext>
              </a:extLst>
            </p:cNvPr>
            <p:cNvSpPr txBox="1"/>
            <p:nvPr userDrawn="1"/>
          </p:nvSpPr>
          <p:spPr bwMode="gray">
            <a:xfrm>
              <a:off x="457200" y="4957078"/>
              <a:ext cx="2966632" cy="338554"/>
            </a:xfrm>
            <a:prstGeom prst="rect">
              <a:avLst/>
            </a:prstGeom>
            <a:noFill/>
          </p:spPr>
          <p:txBody>
            <a:bodyPr vert="horz" wrap="square" lIns="0" tIns="0" rIns="0" bIns="0" rtlCol="0">
              <a:spAutoFit/>
            </a:bodyPr>
            <a:lstStyle/>
            <a:p>
              <a:pPr algn="ctr">
                <a:spcBef>
                  <a:spcPts val="600"/>
                </a:spcBef>
              </a:pPr>
              <a:r>
                <a:rPr lang="en-US" sz="2200" b="1">
                  <a:solidFill>
                    <a:schemeClr val="bg1"/>
                  </a:solidFill>
                </a:rPr>
                <a:t>Get started</a:t>
              </a:r>
            </a:p>
          </p:txBody>
        </p:sp>
      </p:grpSp>
      <p:sp>
        <p:nvSpPr>
          <p:cNvPr id="31" name="Freeform 30">
            <a:extLst>
              <a:ext uri="{FF2B5EF4-FFF2-40B4-BE49-F238E27FC236}">
                <a16:creationId xmlns:a16="http://schemas.microsoft.com/office/drawing/2014/main" id="{2A917D01-1452-D576-8CA6-1857A9CB5FE9}"/>
              </a:ext>
            </a:extLst>
          </p:cNvPr>
          <p:cNvSpPr/>
          <p:nvPr userDrawn="1"/>
        </p:nvSpPr>
        <p:spPr bwMode="gray">
          <a:xfrm>
            <a:off x="5755180" y="0"/>
            <a:ext cx="6449291" cy="6858000"/>
          </a:xfrm>
          <a:custGeom>
            <a:avLst/>
            <a:gdLst>
              <a:gd name="connsiteX0" fmla="*/ 1815398 w 6449291"/>
              <a:gd name="connsiteY0" fmla="*/ 0 h 6858000"/>
              <a:gd name="connsiteX1" fmla="*/ 6449291 w 6449291"/>
              <a:gd name="connsiteY1" fmla="*/ 0 h 6858000"/>
              <a:gd name="connsiteX2" fmla="*/ 6449291 w 6449291"/>
              <a:gd name="connsiteY2" fmla="*/ 6858000 h 6858000"/>
              <a:gd name="connsiteX3" fmla="*/ 1815398 w 6449291"/>
              <a:gd name="connsiteY3" fmla="*/ 6858000 h 6858000"/>
              <a:gd name="connsiteX4" fmla="*/ 1665371 w 6449291"/>
              <a:gd name="connsiteY4" fmla="*/ 6751314 h 6858000"/>
              <a:gd name="connsiteX5" fmla="*/ 0 w 6449291"/>
              <a:gd name="connsiteY5" fmla="*/ 3429000 h 6858000"/>
              <a:gd name="connsiteX6" fmla="*/ 1665371 w 6449291"/>
              <a:gd name="connsiteY6" fmla="*/ 106686 h 6858000"/>
              <a:gd name="connsiteX7" fmla="*/ 1815398 w 644929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9291" h="6858000">
                <a:moveTo>
                  <a:pt x="1815398" y="0"/>
                </a:moveTo>
                <a:lnTo>
                  <a:pt x="6449291" y="0"/>
                </a:lnTo>
                <a:lnTo>
                  <a:pt x="6449291" y="6858000"/>
                </a:lnTo>
                <a:lnTo>
                  <a:pt x="1815398" y="6858000"/>
                </a:lnTo>
                <a:lnTo>
                  <a:pt x="1665371" y="6751314"/>
                </a:lnTo>
                <a:cubicBezTo>
                  <a:pt x="654388" y="5995246"/>
                  <a:pt x="0" y="4788543"/>
                  <a:pt x="0" y="3429000"/>
                </a:cubicBezTo>
                <a:cubicBezTo>
                  <a:pt x="0" y="2069457"/>
                  <a:pt x="654388" y="862754"/>
                  <a:pt x="1665371" y="106686"/>
                </a:cubicBezTo>
                <a:lnTo>
                  <a:pt x="1815398" y="0"/>
                </a:lnTo>
                <a:close/>
              </a:path>
            </a:pathLst>
          </a:custGeom>
          <a:blipFill>
            <a:blip r:embed="rId4">
              <a:extLst>
                <a:ext uri="{96DAC541-7B7A-43D3-8B79-37D633B846F1}">
                  <asvg:svgBlip xmlns:asvg="http://schemas.microsoft.com/office/drawing/2016/SVG/main" r:embed="rId5"/>
                </a:ext>
              </a:extLst>
            </a:blip>
            <a:stretch>
              <a:fillRect/>
            </a:stretch>
          </a:bli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53321780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Tree>
    <p:extLst>
      <p:ext uri="{BB962C8B-B14F-4D97-AF65-F5344CB8AC3E}">
        <p14:creationId xmlns:p14="http://schemas.microsoft.com/office/powerpoint/2010/main" val="222572632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105755884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Tree>
    <p:extLst>
      <p:ext uri="{BB962C8B-B14F-4D97-AF65-F5344CB8AC3E}">
        <p14:creationId xmlns:p14="http://schemas.microsoft.com/office/powerpoint/2010/main" val="169774160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9/2024</a:t>
            </a:fld>
            <a:endParaRPr lang="en-US"/>
          </a:p>
        </p:txBody>
      </p:sp>
    </p:spTree>
    <p:extLst>
      <p:ext uri="{BB962C8B-B14F-4D97-AF65-F5344CB8AC3E}">
        <p14:creationId xmlns:p14="http://schemas.microsoft.com/office/powerpoint/2010/main" val="52403741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userDrawn="1"/>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Tree>
    <p:extLst>
      <p:ext uri="{BB962C8B-B14F-4D97-AF65-F5344CB8AC3E}">
        <p14:creationId xmlns:p14="http://schemas.microsoft.com/office/powerpoint/2010/main" val="3547486936"/>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049815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9/2024</a:t>
            </a:fld>
            <a:endParaRPr lang="en-US"/>
          </a:p>
        </p:txBody>
      </p:sp>
    </p:spTree>
    <p:extLst>
      <p:ext uri="{BB962C8B-B14F-4D97-AF65-F5344CB8AC3E}">
        <p14:creationId xmlns:p14="http://schemas.microsoft.com/office/powerpoint/2010/main" val="31368401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9/2024</a:t>
            </a:fld>
            <a:endParaRPr lang="en-US"/>
          </a:p>
        </p:txBody>
      </p:sp>
    </p:spTree>
    <p:extLst>
      <p:ext uri="{BB962C8B-B14F-4D97-AF65-F5344CB8AC3E}">
        <p14:creationId xmlns:p14="http://schemas.microsoft.com/office/powerpoint/2010/main" val="35511057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Home Master</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69646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9/2024</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 action="ppaction://noaction"/>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 action="ppaction://noaction"/>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 action="ppaction://noaction"/>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rId2" action="ppaction://hlinksldjump"/>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 action="ppaction://noaction"/>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3"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3"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76587701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Why evaluate</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051278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grpSp>
        <p:nvGrpSpPr>
          <p:cNvPr id="62" name="Group 61">
            <a:extLst>
              <a:ext uri="{FF2B5EF4-FFF2-40B4-BE49-F238E27FC236}">
                <a16:creationId xmlns:a16="http://schemas.microsoft.com/office/drawing/2014/main" id="{F66CA77A-4286-AD29-EA13-383138B2F6D2}"/>
              </a:ext>
            </a:extLst>
          </p:cNvPr>
          <p:cNvGrpSpPr/>
          <p:nvPr userDrawn="1"/>
        </p:nvGrpSpPr>
        <p:grpSpPr>
          <a:xfrm>
            <a:off x="0" y="6263640"/>
            <a:ext cx="12192000" cy="594360"/>
            <a:chOff x="0" y="6263640"/>
            <a:chExt cx="12192000" cy="594360"/>
          </a:xfrm>
        </p:grpSpPr>
        <p:sp>
          <p:nvSpPr>
            <p:cNvPr id="63" name="Rectangle 62">
              <a:extLst>
                <a:ext uri="{FF2B5EF4-FFF2-40B4-BE49-F238E27FC236}">
                  <a16:creationId xmlns:a16="http://schemas.microsoft.com/office/drawing/2014/main" id="{008FB8DE-877F-ECA0-E2DE-8C7368D2F2A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64" name="Group 63">
              <a:extLst>
                <a:ext uri="{FF2B5EF4-FFF2-40B4-BE49-F238E27FC236}">
                  <a16:creationId xmlns:a16="http://schemas.microsoft.com/office/drawing/2014/main" id="{B0C56835-688E-0CEC-D72C-4C1E956960B5}"/>
                </a:ext>
              </a:extLst>
            </p:cNvPr>
            <p:cNvGrpSpPr/>
            <p:nvPr userDrawn="1"/>
          </p:nvGrpSpPr>
          <p:grpSpPr>
            <a:xfrm>
              <a:off x="10470557" y="6414521"/>
              <a:ext cx="1137612" cy="292599"/>
              <a:chOff x="10470557" y="6421187"/>
              <a:chExt cx="1137612" cy="292599"/>
            </a:xfrm>
          </p:grpSpPr>
          <p:grpSp>
            <p:nvGrpSpPr>
              <p:cNvPr id="66" name="Group 65">
                <a:extLst>
                  <a:ext uri="{FF2B5EF4-FFF2-40B4-BE49-F238E27FC236}">
                    <a16:creationId xmlns:a16="http://schemas.microsoft.com/office/drawing/2014/main" id="{6CD09D0A-BC29-213A-A3CA-194512814F2C}"/>
                  </a:ext>
                </a:extLst>
              </p:cNvPr>
              <p:cNvGrpSpPr/>
              <p:nvPr userDrawn="1"/>
            </p:nvGrpSpPr>
            <p:grpSpPr>
              <a:xfrm>
                <a:off x="10470557" y="6421187"/>
                <a:ext cx="295764" cy="292598"/>
                <a:chOff x="10470557" y="5875580"/>
                <a:chExt cx="295764" cy="292598"/>
              </a:xfrm>
            </p:grpSpPr>
            <p:sp>
              <p:nvSpPr>
                <p:cNvPr id="77" name="Freeform 76">
                  <a:hlinkClick r:id="" action="ppaction://hlinkshowjump?jump=previousslide"/>
                  <a:extLst>
                    <a:ext uri="{FF2B5EF4-FFF2-40B4-BE49-F238E27FC236}">
                      <a16:creationId xmlns:a16="http://schemas.microsoft.com/office/drawing/2014/main" id="{A4AD2269-EBE5-A859-8A85-DBAF211DF354}"/>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8" name="Group 77">
                  <a:extLst>
                    <a:ext uri="{FF2B5EF4-FFF2-40B4-BE49-F238E27FC236}">
                      <a16:creationId xmlns:a16="http://schemas.microsoft.com/office/drawing/2014/main" id="{447EC931-D99C-97BB-DA71-108CE9ED1E71}"/>
                    </a:ext>
                  </a:extLst>
                </p:cNvPr>
                <p:cNvGrpSpPr/>
                <p:nvPr userDrawn="1"/>
              </p:nvGrpSpPr>
              <p:grpSpPr>
                <a:xfrm>
                  <a:off x="10470557" y="5875580"/>
                  <a:ext cx="295764" cy="292598"/>
                  <a:chOff x="10470558" y="5855052"/>
                  <a:chExt cx="295764" cy="292598"/>
                </a:xfrm>
              </p:grpSpPr>
              <p:sp>
                <p:nvSpPr>
                  <p:cNvPr id="79" name="Freeform 78">
                    <a:hlinkClick r:id="" action="ppaction://hlinkshowjump?jump=lastslideviewed"/>
                    <a:extLst>
                      <a:ext uri="{FF2B5EF4-FFF2-40B4-BE49-F238E27FC236}">
                        <a16:creationId xmlns:a16="http://schemas.microsoft.com/office/drawing/2014/main" id="{27EA49E2-86D3-710B-AB83-A1887A7A3942}"/>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1090AB4A-6F2D-851A-C5D1-25E9F9FC0E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67" name="Group 66">
                <a:extLst>
                  <a:ext uri="{FF2B5EF4-FFF2-40B4-BE49-F238E27FC236}">
                    <a16:creationId xmlns:a16="http://schemas.microsoft.com/office/drawing/2014/main" id="{6364C61C-7B74-6B53-0F1E-7FEAFA525BC6}"/>
                  </a:ext>
                </a:extLst>
              </p:cNvPr>
              <p:cNvGrpSpPr/>
              <p:nvPr userDrawn="1"/>
            </p:nvGrpSpPr>
            <p:grpSpPr>
              <a:xfrm>
                <a:off x="11312405" y="6421187"/>
                <a:ext cx="295764" cy="292599"/>
                <a:chOff x="11312405" y="5875587"/>
                <a:chExt cx="295764" cy="292599"/>
              </a:xfrm>
            </p:grpSpPr>
            <p:sp>
              <p:nvSpPr>
                <p:cNvPr id="73" name="Freeform 72">
                  <a:hlinkClick r:id="" action="ppaction://hlinkshowjump?jump=nextslide"/>
                  <a:extLst>
                    <a:ext uri="{FF2B5EF4-FFF2-40B4-BE49-F238E27FC236}">
                      <a16:creationId xmlns:a16="http://schemas.microsoft.com/office/drawing/2014/main" id="{3D0AE064-D90E-73E4-48AE-83D1BF1DBE8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4" name="Group 73">
                  <a:extLst>
                    <a:ext uri="{FF2B5EF4-FFF2-40B4-BE49-F238E27FC236}">
                      <a16:creationId xmlns:a16="http://schemas.microsoft.com/office/drawing/2014/main" id="{F1DA0CCB-E40E-7A73-8FA8-D3054DAC4C4D}"/>
                    </a:ext>
                  </a:extLst>
                </p:cNvPr>
                <p:cNvGrpSpPr/>
                <p:nvPr userDrawn="1"/>
              </p:nvGrpSpPr>
              <p:grpSpPr>
                <a:xfrm>
                  <a:off x="11312405" y="5875587"/>
                  <a:ext cx="295764" cy="292599"/>
                  <a:chOff x="11297334" y="5855058"/>
                  <a:chExt cx="295764" cy="292599"/>
                </a:xfrm>
              </p:grpSpPr>
              <p:sp>
                <p:nvSpPr>
                  <p:cNvPr id="75" name="Freeform 74">
                    <a:hlinkClick r:id="" action="ppaction://hlinkshowjump?jump=nextslide"/>
                    <a:extLst>
                      <a:ext uri="{FF2B5EF4-FFF2-40B4-BE49-F238E27FC236}">
                        <a16:creationId xmlns:a16="http://schemas.microsoft.com/office/drawing/2014/main" id="{29B1742A-63B6-D8EB-F4BC-5F303EA437E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6" name="Freeform 75">
                    <a:hlinkClick r:id="" action="ppaction://hlinkshowjump?jump=nextslide"/>
                    <a:extLst>
                      <a:ext uri="{FF2B5EF4-FFF2-40B4-BE49-F238E27FC236}">
                        <a16:creationId xmlns:a16="http://schemas.microsoft.com/office/drawing/2014/main" id="{0D4CC888-76AB-7F4C-54F9-989A69B14D93}"/>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0E8C6710-886E-E6C4-B8A3-638DFF00815C}"/>
                  </a:ext>
                </a:extLst>
              </p:cNvPr>
              <p:cNvGrpSpPr/>
              <p:nvPr userDrawn="1"/>
            </p:nvGrpSpPr>
            <p:grpSpPr>
              <a:xfrm>
                <a:off x="10891481" y="6421187"/>
                <a:ext cx="295764" cy="292599"/>
                <a:chOff x="10883946" y="5644499"/>
                <a:chExt cx="295764" cy="292599"/>
              </a:xfrm>
            </p:grpSpPr>
            <p:sp>
              <p:nvSpPr>
                <p:cNvPr id="69" name="Freeform 68">
                  <a:hlinkClick r:id="rId2" action="ppaction://hlinksldjump"/>
                  <a:extLst>
                    <a:ext uri="{FF2B5EF4-FFF2-40B4-BE49-F238E27FC236}">
                      <a16:creationId xmlns:a16="http://schemas.microsoft.com/office/drawing/2014/main" id="{D3CAA277-C6B5-364F-9A68-734C5187CBA2}"/>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0" name="Group 69">
                  <a:extLst>
                    <a:ext uri="{FF2B5EF4-FFF2-40B4-BE49-F238E27FC236}">
                      <a16:creationId xmlns:a16="http://schemas.microsoft.com/office/drawing/2014/main" id="{337EEE6F-447F-6158-B6A1-8130DCBDB918}"/>
                    </a:ext>
                  </a:extLst>
                </p:cNvPr>
                <p:cNvGrpSpPr/>
                <p:nvPr userDrawn="1"/>
              </p:nvGrpSpPr>
              <p:grpSpPr>
                <a:xfrm>
                  <a:off x="10883946" y="5644499"/>
                  <a:ext cx="295764" cy="292599"/>
                  <a:chOff x="10899016" y="5855059"/>
                  <a:chExt cx="295764" cy="292599"/>
                </a:xfrm>
              </p:grpSpPr>
              <p:sp>
                <p:nvSpPr>
                  <p:cNvPr id="71" name="Freeform 70">
                    <a:extLst>
                      <a:ext uri="{FF2B5EF4-FFF2-40B4-BE49-F238E27FC236}">
                        <a16:creationId xmlns:a16="http://schemas.microsoft.com/office/drawing/2014/main" id="{3BCEEC91-4616-3371-EEDC-E9FB14FB6F8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2" name="Freeform 71">
                    <a:hlinkClick r:id="rId2" action="ppaction://hlinksldjump"/>
                    <a:extLst>
                      <a:ext uri="{FF2B5EF4-FFF2-40B4-BE49-F238E27FC236}">
                        <a16:creationId xmlns:a16="http://schemas.microsoft.com/office/drawing/2014/main" id="{31C7E4C3-98AF-A47B-662D-15BF33DCCD6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5" name="Graphic 64">
              <a:extLst>
                <a:ext uri="{FF2B5EF4-FFF2-40B4-BE49-F238E27FC236}">
                  <a16:creationId xmlns:a16="http://schemas.microsoft.com/office/drawing/2014/main" id="{ED8DE116-B539-4BF7-FDFA-6916FD47DFE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2" name="Rounded Rectangle 1">
            <a:hlinkClick r:id="rId2" action="ppaction://hlinksldjump"/>
            <a:extLst>
              <a:ext uri="{FF2B5EF4-FFF2-40B4-BE49-F238E27FC236}">
                <a16:creationId xmlns:a16="http://schemas.microsoft.com/office/drawing/2014/main" id="{4B113B11-A347-3CED-0A84-7703B0B16239}"/>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4" name="Rounded Rectangle 3">
            <a:hlinkClick r:id="" action="ppaction://noaction"/>
            <a:extLst>
              <a:ext uri="{FF2B5EF4-FFF2-40B4-BE49-F238E27FC236}">
                <a16:creationId xmlns:a16="http://schemas.microsoft.com/office/drawing/2014/main" id="{9885CC4F-57A6-4B52-22CD-4B1686BD12B3}"/>
              </a:ext>
            </a:extLst>
          </p:cNvPr>
          <p:cNvSpPr/>
          <p:nvPr userDrawn="1"/>
        </p:nvSpPr>
        <p:spPr bwMode="gray">
          <a:xfrm>
            <a:off x="1476747"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Why evaluate</a:t>
            </a:r>
          </a:p>
        </p:txBody>
      </p:sp>
      <p:sp>
        <p:nvSpPr>
          <p:cNvPr id="5" name="Rounded Rectangle 4">
            <a:hlinkClick r:id="" action="ppaction://noaction"/>
            <a:extLst>
              <a:ext uri="{FF2B5EF4-FFF2-40B4-BE49-F238E27FC236}">
                <a16:creationId xmlns:a16="http://schemas.microsoft.com/office/drawing/2014/main" id="{327C5CF1-88ED-A122-AEF8-63E6AA03E2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6" name="Rounded Rectangle 5">
            <a:hlinkClick r:id="" action="ppaction://noaction"/>
            <a:extLst>
              <a:ext uri="{FF2B5EF4-FFF2-40B4-BE49-F238E27FC236}">
                <a16:creationId xmlns:a16="http://schemas.microsoft.com/office/drawing/2014/main" id="{A6B8EF91-89C8-1173-13F2-9D1C5DC614CF}"/>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7" name="Rounded Rectangle 6">
            <a:hlinkClick r:id="" action="ppaction://noaction"/>
            <a:extLst>
              <a:ext uri="{FF2B5EF4-FFF2-40B4-BE49-F238E27FC236}">
                <a16:creationId xmlns:a16="http://schemas.microsoft.com/office/drawing/2014/main" id="{0401E040-2397-8EB5-8FFC-5F362E0C91BD}"/>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8" name="Rounded Rectangle 7">
            <a:hlinkClick r:id="rId5" action="ppaction://hlinksldjump"/>
            <a:extLst>
              <a:ext uri="{FF2B5EF4-FFF2-40B4-BE49-F238E27FC236}">
                <a16:creationId xmlns:a16="http://schemas.microsoft.com/office/drawing/2014/main" id="{97DC0897-0B59-6FB9-5773-C3A2DC9829B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9" name="Rounded Rectangle 8">
            <a:hlinkClick r:id="" action="ppaction://noaction"/>
            <a:extLst>
              <a:ext uri="{FF2B5EF4-FFF2-40B4-BE49-F238E27FC236}">
                <a16:creationId xmlns:a16="http://schemas.microsoft.com/office/drawing/2014/main" id="{E19111B1-5468-B482-521D-020A7DB1C0A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10" name="Rounded Rectangle 9">
            <a:hlinkClick r:id="" action="ppaction://noaction"/>
            <a:extLst>
              <a:ext uri="{FF2B5EF4-FFF2-40B4-BE49-F238E27FC236}">
                <a16:creationId xmlns:a16="http://schemas.microsoft.com/office/drawing/2014/main" id="{24065D56-4FEE-EF47-BE51-ADE1D4A87A0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24467910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2173227027"/>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2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Measur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75737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 action="ppaction://noaction"/>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 action="ppaction://noaction"/>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 action="ppaction://noaction"/>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 action="ppaction://noaction"/>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rId5" action="ppaction://hlinksldjump"/>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14774313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3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ings to think about</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164247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rId5" action="ppaction://hlinksldjump"/>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98050332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4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Design</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906457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rId5" action="ppaction://hlinksldjump"/>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 action="ppaction://noaction"/>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425576896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5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Analysi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089627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 action="ppaction://noaction"/>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 action="ppaction://noaction"/>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 action="ppaction://noaction"/>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 action="ppaction://noaction"/>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rId5" action="ppaction://hlinksldjump"/>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414539825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6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Conclusion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597153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5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rId5" action="ppaction://hlinksldjump"/>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53485543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225414738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7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Resourc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510970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rId5" action="ppaction://hlinksldjump"/>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174211391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9/2024</a:t>
            </a:fld>
            <a:endParaRPr lang="en-US"/>
          </a:p>
        </p:txBody>
      </p:sp>
    </p:spTree>
    <p:extLst>
      <p:ext uri="{BB962C8B-B14F-4D97-AF65-F5344CB8AC3E}">
        <p14:creationId xmlns:p14="http://schemas.microsoft.com/office/powerpoint/2010/main" val="767847710"/>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9/2024</a:t>
            </a:fld>
            <a:endParaRPr lang="en-US"/>
          </a:p>
        </p:txBody>
      </p:sp>
    </p:spTree>
    <p:extLst>
      <p:ext uri="{BB962C8B-B14F-4D97-AF65-F5344CB8AC3E}">
        <p14:creationId xmlns:p14="http://schemas.microsoft.com/office/powerpoint/2010/main" val="89069208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9/2024</a:t>
            </a:fld>
            <a:endParaRPr lang="en-US"/>
          </a:p>
        </p:txBody>
      </p:sp>
    </p:spTree>
    <p:extLst>
      <p:ext uri="{BB962C8B-B14F-4D97-AF65-F5344CB8AC3E}">
        <p14:creationId xmlns:p14="http://schemas.microsoft.com/office/powerpoint/2010/main" val="1005798069"/>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909052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Tree>
    <p:extLst>
      <p:ext uri="{BB962C8B-B14F-4D97-AF65-F5344CB8AC3E}">
        <p14:creationId xmlns:p14="http://schemas.microsoft.com/office/powerpoint/2010/main" val="327313973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Tree>
    <p:extLst>
      <p:ext uri="{BB962C8B-B14F-4D97-AF65-F5344CB8AC3E}">
        <p14:creationId xmlns:p14="http://schemas.microsoft.com/office/powerpoint/2010/main" val="135927333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Tree>
    <p:extLst>
      <p:ext uri="{BB962C8B-B14F-4D97-AF65-F5344CB8AC3E}">
        <p14:creationId xmlns:p14="http://schemas.microsoft.com/office/powerpoint/2010/main" val="53494702"/>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Tree>
    <p:extLst>
      <p:ext uri="{BB962C8B-B14F-4D97-AF65-F5344CB8AC3E}">
        <p14:creationId xmlns:p14="http://schemas.microsoft.com/office/powerpoint/2010/main" val="282810030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270774055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9/2024</a:t>
            </a:fld>
            <a:endParaRPr lang="en-US"/>
          </a:p>
        </p:txBody>
      </p:sp>
    </p:spTree>
    <p:extLst>
      <p:ext uri="{BB962C8B-B14F-4D97-AF65-F5344CB8AC3E}">
        <p14:creationId xmlns:p14="http://schemas.microsoft.com/office/powerpoint/2010/main" val="254674762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9/2024</a:t>
            </a:fld>
            <a:endParaRPr lang="en-US"/>
          </a:p>
        </p:txBody>
      </p:sp>
    </p:spTree>
    <p:extLst>
      <p:ext uri="{BB962C8B-B14F-4D97-AF65-F5344CB8AC3E}">
        <p14:creationId xmlns:p14="http://schemas.microsoft.com/office/powerpoint/2010/main" val="359815299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364557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spTree>
    <p:extLst>
      <p:ext uri="{BB962C8B-B14F-4D97-AF65-F5344CB8AC3E}">
        <p14:creationId xmlns:p14="http://schemas.microsoft.com/office/powerpoint/2010/main" val="27270321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659278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9/2024</a:t>
            </a:fld>
            <a:endParaRPr lang="en-US"/>
          </a:p>
        </p:txBody>
      </p:sp>
    </p:spTree>
    <p:extLst>
      <p:ext uri="{BB962C8B-B14F-4D97-AF65-F5344CB8AC3E}">
        <p14:creationId xmlns:p14="http://schemas.microsoft.com/office/powerpoint/2010/main" val="232182534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9/2024</a:t>
            </a:fld>
            <a:endParaRPr lang="en-US"/>
          </a:p>
        </p:txBody>
      </p:sp>
    </p:spTree>
    <p:extLst>
      <p:ext uri="{BB962C8B-B14F-4D97-AF65-F5344CB8AC3E}">
        <p14:creationId xmlns:p14="http://schemas.microsoft.com/office/powerpoint/2010/main" val="404501583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9/2024</a:t>
            </a:fld>
            <a:endParaRPr lang="en-US"/>
          </a:p>
        </p:txBody>
      </p:sp>
    </p:spTree>
    <p:extLst>
      <p:ext uri="{BB962C8B-B14F-4D97-AF65-F5344CB8AC3E}">
        <p14:creationId xmlns:p14="http://schemas.microsoft.com/office/powerpoint/2010/main" val="20018846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9/2024</a:t>
            </a:fld>
            <a:endParaRPr lang="en-US"/>
          </a:p>
        </p:txBody>
      </p:sp>
    </p:spTree>
    <p:extLst>
      <p:ext uri="{BB962C8B-B14F-4D97-AF65-F5344CB8AC3E}">
        <p14:creationId xmlns:p14="http://schemas.microsoft.com/office/powerpoint/2010/main" val="331699148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9/2024</a:t>
            </a:fld>
            <a:endParaRPr lang="en-US"/>
          </a:p>
        </p:txBody>
      </p:sp>
    </p:spTree>
    <p:extLst>
      <p:ext uri="{BB962C8B-B14F-4D97-AF65-F5344CB8AC3E}">
        <p14:creationId xmlns:p14="http://schemas.microsoft.com/office/powerpoint/2010/main" val="385235581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37510243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9/2024</a:t>
            </a:fld>
            <a:endParaRPr lang="en-US"/>
          </a:p>
        </p:txBody>
      </p:sp>
    </p:spTree>
    <p:extLst>
      <p:ext uri="{BB962C8B-B14F-4D97-AF65-F5344CB8AC3E}">
        <p14:creationId xmlns:p14="http://schemas.microsoft.com/office/powerpoint/2010/main" val="413452743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9/2024</a:t>
            </a:fld>
            <a:endParaRPr lang="en-US"/>
          </a:p>
        </p:txBody>
      </p:sp>
    </p:spTree>
    <p:extLst>
      <p:ext uri="{BB962C8B-B14F-4D97-AF65-F5344CB8AC3E}">
        <p14:creationId xmlns:p14="http://schemas.microsoft.com/office/powerpoint/2010/main" val="366884994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26065286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AF8F2"/>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241357613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54544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9/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7165038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9/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6213515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203507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9/2024</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762421171"/>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48358223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882065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9/2024</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1936035390"/>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9/2024</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60698594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9/2024</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2310644426"/>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98463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223419988"/>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96586341"/>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512272048"/>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650998659"/>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324828205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24276448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spTree>
    <p:extLst>
      <p:ext uri="{BB962C8B-B14F-4D97-AF65-F5344CB8AC3E}">
        <p14:creationId xmlns:p14="http://schemas.microsoft.com/office/powerpoint/2010/main" val="272278936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328972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131990139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3</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401800394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823216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9/2024</a:t>
            </a:fld>
            <a:endParaRPr lang="en-US"/>
          </a:p>
        </p:txBody>
      </p:sp>
    </p:spTree>
    <p:extLst>
      <p:ext uri="{BB962C8B-B14F-4D97-AF65-F5344CB8AC3E}">
        <p14:creationId xmlns:p14="http://schemas.microsoft.com/office/powerpoint/2010/main" val="227754790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Tree>
    <p:extLst>
      <p:ext uri="{BB962C8B-B14F-4D97-AF65-F5344CB8AC3E}">
        <p14:creationId xmlns:p14="http://schemas.microsoft.com/office/powerpoint/2010/main" val="159360055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grpSp>
        <p:nvGrpSpPr>
          <p:cNvPr id="14" name="Group 13">
            <a:extLst>
              <a:ext uri="{FF2B5EF4-FFF2-40B4-BE49-F238E27FC236}">
                <a16:creationId xmlns:a16="http://schemas.microsoft.com/office/drawing/2014/main" id="{73C2F6C1-998B-8678-2054-1CEBF9F632F9}"/>
              </a:ext>
            </a:extLst>
          </p:cNvPr>
          <p:cNvGrpSpPr/>
          <p:nvPr userDrawn="1"/>
        </p:nvGrpSpPr>
        <p:grpSpPr>
          <a:xfrm>
            <a:off x="457200" y="5721954"/>
            <a:ext cx="2400300" cy="605790"/>
            <a:chOff x="457200" y="4823460"/>
            <a:chExt cx="2966632" cy="605790"/>
          </a:xfrm>
        </p:grpSpPr>
        <p:sp>
          <p:nvSpPr>
            <p:cNvPr id="13" name="Freeform 12">
              <a:hlinkClick r:id="" action="ppaction://hlinkshowjump?jump=nextslide"/>
              <a:extLst>
                <a:ext uri="{FF2B5EF4-FFF2-40B4-BE49-F238E27FC236}">
                  <a16:creationId xmlns:a16="http://schemas.microsoft.com/office/drawing/2014/main" id="{1B858B6E-030F-98C4-122C-8C57005ADD9D}"/>
                </a:ext>
              </a:extLst>
            </p:cNvPr>
            <p:cNvSpPr/>
            <p:nvPr userDrawn="1"/>
          </p:nvSpPr>
          <p:spPr bwMode="gray">
            <a:xfrm>
              <a:off x="457200" y="4823460"/>
              <a:ext cx="2966632" cy="605790"/>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0" name="TextBox 9">
              <a:extLst>
                <a:ext uri="{FF2B5EF4-FFF2-40B4-BE49-F238E27FC236}">
                  <a16:creationId xmlns:a16="http://schemas.microsoft.com/office/drawing/2014/main" id="{F70B0789-6BC1-2F0F-D010-4B5589AA578B}"/>
                </a:ext>
              </a:extLst>
            </p:cNvPr>
            <p:cNvSpPr txBox="1"/>
            <p:nvPr userDrawn="1"/>
          </p:nvSpPr>
          <p:spPr bwMode="gray">
            <a:xfrm>
              <a:off x="457200" y="4957078"/>
              <a:ext cx="2966632" cy="338554"/>
            </a:xfrm>
            <a:prstGeom prst="rect">
              <a:avLst/>
            </a:prstGeom>
            <a:noFill/>
          </p:spPr>
          <p:txBody>
            <a:bodyPr vert="horz" wrap="square" lIns="0" tIns="0" rIns="0" bIns="0" rtlCol="0">
              <a:spAutoFit/>
            </a:bodyPr>
            <a:lstStyle/>
            <a:p>
              <a:pPr algn="ctr">
                <a:spcBef>
                  <a:spcPts val="600"/>
                </a:spcBef>
              </a:pPr>
              <a:r>
                <a:rPr lang="en-US" sz="2200" b="1">
                  <a:solidFill>
                    <a:schemeClr val="bg1"/>
                  </a:solidFill>
                </a:rPr>
                <a:t>Get started</a:t>
              </a:r>
            </a:p>
          </p:txBody>
        </p:sp>
      </p:grpSp>
      <p:sp>
        <p:nvSpPr>
          <p:cNvPr id="31" name="Freeform 30">
            <a:extLst>
              <a:ext uri="{FF2B5EF4-FFF2-40B4-BE49-F238E27FC236}">
                <a16:creationId xmlns:a16="http://schemas.microsoft.com/office/drawing/2014/main" id="{2A917D01-1452-D576-8CA6-1857A9CB5FE9}"/>
              </a:ext>
            </a:extLst>
          </p:cNvPr>
          <p:cNvSpPr/>
          <p:nvPr userDrawn="1"/>
        </p:nvSpPr>
        <p:spPr bwMode="gray">
          <a:xfrm>
            <a:off x="5755180" y="0"/>
            <a:ext cx="6449291" cy="6858000"/>
          </a:xfrm>
          <a:custGeom>
            <a:avLst/>
            <a:gdLst>
              <a:gd name="connsiteX0" fmla="*/ 1815398 w 6449291"/>
              <a:gd name="connsiteY0" fmla="*/ 0 h 6858000"/>
              <a:gd name="connsiteX1" fmla="*/ 6449291 w 6449291"/>
              <a:gd name="connsiteY1" fmla="*/ 0 h 6858000"/>
              <a:gd name="connsiteX2" fmla="*/ 6449291 w 6449291"/>
              <a:gd name="connsiteY2" fmla="*/ 6858000 h 6858000"/>
              <a:gd name="connsiteX3" fmla="*/ 1815398 w 6449291"/>
              <a:gd name="connsiteY3" fmla="*/ 6858000 h 6858000"/>
              <a:gd name="connsiteX4" fmla="*/ 1665371 w 6449291"/>
              <a:gd name="connsiteY4" fmla="*/ 6751314 h 6858000"/>
              <a:gd name="connsiteX5" fmla="*/ 0 w 6449291"/>
              <a:gd name="connsiteY5" fmla="*/ 3429000 h 6858000"/>
              <a:gd name="connsiteX6" fmla="*/ 1665371 w 6449291"/>
              <a:gd name="connsiteY6" fmla="*/ 106686 h 6858000"/>
              <a:gd name="connsiteX7" fmla="*/ 1815398 w 644929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9291" h="6858000">
                <a:moveTo>
                  <a:pt x="1815398" y="0"/>
                </a:moveTo>
                <a:lnTo>
                  <a:pt x="6449291" y="0"/>
                </a:lnTo>
                <a:lnTo>
                  <a:pt x="6449291" y="6858000"/>
                </a:lnTo>
                <a:lnTo>
                  <a:pt x="1815398" y="6858000"/>
                </a:lnTo>
                <a:lnTo>
                  <a:pt x="1665371" y="6751314"/>
                </a:lnTo>
                <a:cubicBezTo>
                  <a:pt x="654388" y="5995246"/>
                  <a:pt x="0" y="4788543"/>
                  <a:pt x="0" y="3429000"/>
                </a:cubicBezTo>
                <a:cubicBezTo>
                  <a:pt x="0" y="2069457"/>
                  <a:pt x="654388" y="862754"/>
                  <a:pt x="1665371" y="106686"/>
                </a:cubicBezTo>
                <a:lnTo>
                  <a:pt x="1815398" y="0"/>
                </a:lnTo>
                <a:close/>
              </a:path>
            </a:pathLst>
          </a:custGeom>
          <a:blipFill>
            <a:blip r:embed="rId4">
              <a:extLst>
                <a:ext uri="{96DAC541-7B7A-43D3-8B79-37D633B846F1}">
                  <asvg:svgBlip xmlns:asvg="http://schemas.microsoft.com/office/drawing/2016/SVG/main" r:embed="rId5"/>
                </a:ext>
              </a:extLst>
            </a:blip>
            <a:stretch>
              <a:fillRect/>
            </a:stretch>
          </a:bli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250011623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Tree>
    <p:extLst>
      <p:ext uri="{BB962C8B-B14F-4D97-AF65-F5344CB8AC3E}">
        <p14:creationId xmlns:p14="http://schemas.microsoft.com/office/powerpoint/2010/main" val="311206631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Tree>
    <p:extLst>
      <p:ext uri="{BB962C8B-B14F-4D97-AF65-F5344CB8AC3E}">
        <p14:creationId xmlns:p14="http://schemas.microsoft.com/office/powerpoint/2010/main" val="78901844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9/2024</a:t>
            </a:fld>
            <a:endParaRPr lang="en-US"/>
          </a:p>
        </p:txBody>
      </p:sp>
    </p:spTree>
    <p:extLst>
      <p:ext uri="{BB962C8B-B14F-4D97-AF65-F5344CB8AC3E}">
        <p14:creationId xmlns:p14="http://schemas.microsoft.com/office/powerpoint/2010/main" val="103771486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202064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userDrawn="1"/>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Tree>
    <p:extLst>
      <p:ext uri="{BB962C8B-B14F-4D97-AF65-F5344CB8AC3E}">
        <p14:creationId xmlns:p14="http://schemas.microsoft.com/office/powerpoint/2010/main" val="2706392009"/>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899250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9/2024</a:t>
            </a:fld>
            <a:endParaRPr lang="en-US"/>
          </a:p>
        </p:txBody>
      </p:sp>
    </p:spTree>
    <p:extLst>
      <p:ext uri="{BB962C8B-B14F-4D97-AF65-F5344CB8AC3E}">
        <p14:creationId xmlns:p14="http://schemas.microsoft.com/office/powerpoint/2010/main" val="7511827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9/2024</a:t>
            </a:fld>
            <a:endParaRPr lang="en-US"/>
          </a:p>
        </p:txBody>
      </p:sp>
    </p:spTree>
    <p:extLst>
      <p:ext uri="{BB962C8B-B14F-4D97-AF65-F5344CB8AC3E}">
        <p14:creationId xmlns:p14="http://schemas.microsoft.com/office/powerpoint/2010/main" val="10407524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Home Master</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258645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9/2024</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rId2" action="ppaction://hlinksldjump"/>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rId2" action="ppaction://hlinksldjump"/>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rId2" action="ppaction://hlinksldjump"/>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 action="ppaction://noaction"/>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 action="ppaction://noaction"/>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3"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3"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145364694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1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Why evaluate</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797791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grpSp>
        <p:nvGrpSpPr>
          <p:cNvPr id="62" name="Group 61">
            <a:extLst>
              <a:ext uri="{FF2B5EF4-FFF2-40B4-BE49-F238E27FC236}">
                <a16:creationId xmlns:a16="http://schemas.microsoft.com/office/drawing/2014/main" id="{F66CA77A-4286-AD29-EA13-383138B2F6D2}"/>
              </a:ext>
            </a:extLst>
          </p:cNvPr>
          <p:cNvGrpSpPr/>
          <p:nvPr userDrawn="1"/>
        </p:nvGrpSpPr>
        <p:grpSpPr>
          <a:xfrm>
            <a:off x="0" y="6263640"/>
            <a:ext cx="12192000" cy="594360"/>
            <a:chOff x="0" y="6263640"/>
            <a:chExt cx="12192000" cy="594360"/>
          </a:xfrm>
        </p:grpSpPr>
        <p:sp>
          <p:nvSpPr>
            <p:cNvPr id="63" name="Rectangle 62">
              <a:extLst>
                <a:ext uri="{FF2B5EF4-FFF2-40B4-BE49-F238E27FC236}">
                  <a16:creationId xmlns:a16="http://schemas.microsoft.com/office/drawing/2014/main" id="{008FB8DE-877F-ECA0-E2DE-8C7368D2F2A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64" name="Group 63">
              <a:extLst>
                <a:ext uri="{FF2B5EF4-FFF2-40B4-BE49-F238E27FC236}">
                  <a16:creationId xmlns:a16="http://schemas.microsoft.com/office/drawing/2014/main" id="{B0C56835-688E-0CEC-D72C-4C1E956960B5}"/>
                </a:ext>
              </a:extLst>
            </p:cNvPr>
            <p:cNvGrpSpPr/>
            <p:nvPr userDrawn="1"/>
          </p:nvGrpSpPr>
          <p:grpSpPr>
            <a:xfrm>
              <a:off x="10470557" y="6414521"/>
              <a:ext cx="1137612" cy="292599"/>
              <a:chOff x="10470557" y="6421187"/>
              <a:chExt cx="1137612" cy="292599"/>
            </a:xfrm>
          </p:grpSpPr>
          <p:grpSp>
            <p:nvGrpSpPr>
              <p:cNvPr id="66" name="Group 65">
                <a:extLst>
                  <a:ext uri="{FF2B5EF4-FFF2-40B4-BE49-F238E27FC236}">
                    <a16:creationId xmlns:a16="http://schemas.microsoft.com/office/drawing/2014/main" id="{6CD09D0A-BC29-213A-A3CA-194512814F2C}"/>
                  </a:ext>
                </a:extLst>
              </p:cNvPr>
              <p:cNvGrpSpPr/>
              <p:nvPr userDrawn="1"/>
            </p:nvGrpSpPr>
            <p:grpSpPr>
              <a:xfrm>
                <a:off x="10470557" y="6421187"/>
                <a:ext cx="295764" cy="292598"/>
                <a:chOff x="10470557" y="5875580"/>
                <a:chExt cx="295764" cy="292598"/>
              </a:xfrm>
            </p:grpSpPr>
            <p:sp>
              <p:nvSpPr>
                <p:cNvPr id="77" name="Freeform 76">
                  <a:hlinkClick r:id="" action="ppaction://hlinkshowjump?jump=previousslide"/>
                  <a:extLst>
                    <a:ext uri="{FF2B5EF4-FFF2-40B4-BE49-F238E27FC236}">
                      <a16:creationId xmlns:a16="http://schemas.microsoft.com/office/drawing/2014/main" id="{A4AD2269-EBE5-A859-8A85-DBAF211DF354}"/>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8" name="Group 77">
                  <a:extLst>
                    <a:ext uri="{FF2B5EF4-FFF2-40B4-BE49-F238E27FC236}">
                      <a16:creationId xmlns:a16="http://schemas.microsoft.com/office/drawing/2014/main" id="{447EC931-D99C-97BB-DA71-108CE9ED1E71}"/>
                    </a:ext>
                  </a:extLst>
                </p:cNvPr>
                <p:cNvGrpSpPr/>
                <p:nvPr userDrawn="1"/>
              </p:nvGrpSpPr>
              <p:grpSpPr>
                <a:xfrm>
                  <a:off x="10470557" y="5875580"/>
                  <a:ext cx="295764" cy="292598"/>
                  <a:chOff x="10470558" y="5855052"/>
                  <a:chExt cx="295764" cy="292598"/>
                </a:xfrm>
              </p:grpSpPr>
              <p:sp>
                <p:nvSpPr>
                  <p:cNvPr id="79" name="Freeform 78">
                    <a:hlinkClick r:id="" action="ppaction://hlinkshowjump?jump=lastslideviewed"/>
                    <a:extLst>
                      <a:ext uri="{FF2B5EF4-FFF2-40B4-BE49-F238E27FC236}">
                        <a16:creationId xmlns:a16="http://schemas.microsoft.com/office/drawing/2014/main" id="{27EA49E2-86D3-710B-AB83-A1887A7A3942}"/>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1090AB4A-6F2D-851A-C5D1-25E9F9FC0E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67" name="Group 66">
                <a:extLst>
                  <a:ext uri="{FF2B5EF4-FFF2-40B4-BE49-F238E27FC236}">
                    <a16:creationId xmlns:a16="http://schemas.microsoft.com/office/drawing/2014/main" id="{6364C61C-7B74-6B53-0F1E-7FEAFA525BC6}"/>
                  </a:ext>
                </a:extLst>
              </p:cNvPr>
              <p:cNvGrpSpPr/>
              <p:nvPr userDrawn="1"/>
            </p:nvGrpSpPr>
            <p:grpSpPr>
              <a:xfrm>
                <a:off x="11312405" y="6421187"/>
                <a:ext cx="295764" cy="292599"/>
                <a:chOff x="11312405" y="5875587"/>
                <a:chExt cx="295764" cy="292599"/>
              </a:xfrm>
            </p:grpSpPr>
            <p:sp>
              <p:nvSpPr>
                <p:cNvPr id="73" name="Freeform 72">
                  <a:hlinkClick r:id="" action="ppaction://hlinkshowjump?jump=nextslide"/>
                  <a:extLst>
                    <a:ext uri="{FF2B5EF4-FFF2-40B4-BE49-F238E27FC236}">
                      <a16:creationId xmlns:a16="http://schemas.microsoft.com/office/drawing/2014/main" id="{3D0AE064-D90E-73E4-48AE-83D1BF1DBE8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4" name="Group 73">
                  <a:extLst>
                    <a:ext uri="{FF2B5EF4-FFF2-40B4-BE49-F238E27FC236}">
                      <a16:creationId xmlns:a16="http://schemas.microsoft.com/office/drawing/2014/main" id="{F1DA0CCB-E40E-7A73-8FA8-D3054DAC4C4D}"/>
                    </a:ext>
                  </a:extLst>
                </p:cNvPr>
                <p:cNvGrpSpPr/>
                <p:nvPr userDrawn="1"/>
              </p:nvGrpSpPr>
              <p:grpSpPr>
                <a:xfrm>
                  <a:off x="11312405" y="5875587"/>
                  <a:ext cx="295764" cy="292599"/>
                  <a:chOff x="11297334" y="5855058"/>
                  <a:chExt cx="295764" cy="292599"/>
                </a:xfrm>
              </p:grpSpPr>
              <p:sp>
                <p:nvSpPr>
                  <p:cNvPr id="75" name="Freeform 74">
                    <a:hlinkClick r:id="" action="ppaction://hlinkshowjump?jump=nextslide"/>
                    <a:extLst>
                      <a:ext uri="{FF2B5EF4-FFF2-40B4-BE49-F238E27FC236}">
                        <a16:creationId xmlns:a16="http://schemas.microsoft.com/office/drawing/2014/main" id="{29B1742A-63B6-D8EB-F4BC-5F303EA437E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6" name="Freeform 75">
                    <a:hlinkClick r:id="" action="ppaction://hlinkshowjump?jump=nextslide"/>
                    <a:extLst>
                      <a:ext uri="{FF2B5EF4-FFF2-40B4-BE49-F238E27FC236}">
                        <a16:creationId xmlns:a16="http://schemas.microsoft.com/office/drawing/2014/main" id="{0D4CC888-76AB-7F4C-54F9-989A69B14D93}"/>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0E8C6710-886E-E6C4-B8A3-638DFF00815C}"/>
                  </a:ext>
                </a:extLst>
              </p:cNvPr>
              <p:cNvGrpSpPr/>
              <p:nvPr userDrawn="1"/>
            </p:nvGrpSpPr>
            <p:grpSpPr>
              <a:xfrm>
                <a:off x="10891481" y="6421187"/>
                <a:ext cx="295764" cy="292599"/>
                <a:chOff x="10883946" y="5644499"/>
                <a:chExt cx="295764" cy="292599"/>
              </a:xfrm>
            </p:grpSpPr>
            <p:sp>
              <p:nvSpPr>
                <p:cNvPr id="69" name="Freeform 68">
                  <a:hlinkClick r:id="rId2" action="ppaction://hlinksldjump"/>
                  <a:extLst>
                    <a:ext uri="{FF2B5EF4-FFF2-40B4-BE49-F238E27FC236}">
                      <a16:creationId xmlns:a16="http://schemas.microsoft.com/office/drawing/2014/main" id="{D3CAA277-C6B5-364F-9A68-734C5187CBA2}"/>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0" name="Group 69">
                  <a:extLst>
                    <a:ext uri="{FF2B5EF4-FFF2-40B4-BE49-F238E27FC236}">
                      <a16:creationId xmlns:a16="http://schemas.microsoft.com/office/drawing/2014/main" id="{337EEE6F-447F-6158-B6A1-8130DCBDB918}"/>
                    </a:ext>
                  </a:extLst>
                </p:cNvPr>
                <p:cNvGrpSpPr/>
                <p:nvPr userDrawn="1"/>
              </p:nvGrpSpPr>
              <p:grpSpPr>
                <a:xfrm>
                  <a:off x="10883946" y="5644499"/>
                  <a:ext cx="295764" cy="292599"/>
                  <a:chOff x="10899016" y="5855059"/>
                  <a:chExt cx="295764" cy="292599"/>
                </a:xfrm>
              </p:grpSpPr>
              <p:sp>
                <p:nvSpPr>
                  <p:cNvPr id="71" name="Freeform 70">
                    <a:extLst>
                      <a:ext uri="{FF2B5EF4-FFF2-40B4-BE49-F238E27FC236}">
                        <a16:creationId xmlns:a16="http://schemas.microsoft.com/office/drawing/2014/main" id="{3BCEEC91-4616-3371-EEDC-E9FB14FB6F8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2" name="Freeform 71">
                    <a:hlinkClick r:id="rId2" action="ppaction://hlinksldjump"/>
                    <a:extLst>
                      <a:ext uri="{FF2B5EF4-FFF2-40B4-BE49-F238E27FC236}">
                        <a16:creationId xmlns:a16="http://schemas.microsoft.com/office/drawing/2014/main" id="{31C7E4C3-98AF-A47B-662D-15BF33DCCD6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5" name="Graphic 64">
              <a:extLst>
                <a:ext uri="{FF2B5EF4-FFF2-40B4-BE49-F238E27FC236}">
                  <a16:creationId xmlns:a16="http://schemas.microsoft.com/office/drawing/2014/main" id="{ED8DE116-B539-4BF7-FDFA-6916FD47DFE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2" name="Rounded Rectangle 1">
            <a:hlinkClick r:id="rId2" action="ppaction://hlinksldjump"/>
            <a:extLst>
              <a:ext uri="{FF2B5EF4-FFF2-40B4-BE49-F238E27FC236}">
                <a16:creationId xmlns:a16="http://schemas.microsoft.com/office/drawing/2014/main" id="{4B113B11-A347-3CED-0A84-7703B0B16239}"/>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4" name="Rounded Rectangle 3">
            <a:hlinkClick r:id="rId5" action="ppaction://hlinksldjump"/>
            <a:extLst>
              <a:ext uri="{FF2B5EF4-FFF2-40B4-BE49-F238E27FC236}">
                <a16:creationId xmlns:a16="http://schemas.microsoft.com/office/drawing/2014/main" id="{9885CC4F-57A6-4B52-22CD-4B1686BD12B3}"/>
              </a:ext>
            </a:extLst>
          </p:cNvPr>
          <p:cNvSpPr/>
          <p:nvPr userDrawn="1"/>
        </p:nvSpPr>
        <p:spPr bwMode="gray">
          <a:xfrm>
            <a:off x="1476747"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Why evaluate</a:t>
            </a:r>
          </a:p>
        </p:txBody>
      </p:sp>
      <p:sp>
        <p:nvSpPr>
          <p:cNvPr id="5" name="Rounded Rectangle 4">
            <a:hlinkClick r:id="rId5" action="ppaction://hlinksldjump"/>
            <a:extLst>
              <a:ext uri="{FF2B5EF4-FFF2-40B4-BE49-F238E27FC236}">
                <a16:creationId xmlns:a16="http://schemas.microsoft.com/office/drawing/2014/main" id="{327C5CF1-88ED-A122-AEF8-63E6AA03E2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6" name="Rounded Rectangle 5">
            <a:hlinkClick r:id="rId5" action="ppaction://hlinksldjump"/>
            <a:extLst>
              <a:ext uri="{FF2B5EF4-FFF2-40B4-BE49-F238E27FC236}">
                <a16:creationId xmlns:a16="http://schemas.microsoft.com/office/drawing/2014/main" id="{A6B8EF91-89C8-1173-13F2-9D1C5DC614CF}"/>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7" name="Rounded Rectangle 6">
            <a:hlinkClick r:id="" action="ppaction://noaction"/>
            <a:extLst>
              <a:ext uri="{FF2B5EF4-FFF2-40B4-BE49-F238E27FC236}">
                <a16:creationId xmlns:a16="http://schemas.microsoft.com/office/drawing/2014/main" id="{0401E040-2397-8EB5-8FFC-5F362E0C91BD}"/>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8" name="Rounded Rectangle 7">
            <a:hlinkClick r:id="" action="ppaction://noaction"/>
            <a:extLst>
              <a:ext uri="{FF2B5EF4-FFF2-40B4-BE49-F238E27FC236}">
                <a16:creationId xmlns:a16="http://schemas.microsoft.com/office/drawing/2014/main" id="{97DC0897-0B59-6FB9-5773-C3A2DC9829B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9" name="Rounded Rectangle 8">
            <a:hlinkClick r:id="" action="ppaction://noaction"/>
            <a:extLst>
              <a:ext uri="{FF2B5EF4-FFF2-40B4-BE49-F238E27FC236}">
                <a16:creationId xmlns:a16="http://schemas.microsoft.com/office/drawing/2014/main" id="{E19111B1-5468-B482-521D-020A7DB1C0A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10" name="Rounded Rectangle 9">
            <a:hlinkClick r:id="" action="ppaction://noaction"/>
            <a:extLst>
              <a:ext uri="{FF2B5EF4-FFF2-40B4-BE49-F238E27FC236}">
                <a16:creationId xmlns:a16="http://schemas.microsoft.com/office/drawing/2014/main" id="{24065D56-4FEE-EF47-BE51-ADE1D4A87A0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410647366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2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Measur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235089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rId5" action="ppaction://hlinksldjump"/>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rId5" action="ppaction://hlinksldjump"/>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rId5" action="ppaction://hlinksldjump"/>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 action="ppaction://noaction"/>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 action="ppaction://noaction"/>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62831784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55230744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3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ings to think about</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243830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5" action="ppaction://hlinksldjump"/>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5" action="ppaction://hlinksldjump"/>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 action="ppaction://noaction"/>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43273003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4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Design</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438864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5" action="ppaction://hlinksldjump"/>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5" action="ppaction://hlinksldjump"/>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 action="ppaction://noaction"/>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00005452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5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Analysi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443943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rId5" action="ppaction://hlinksldjump"/>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rId5" action="ppaction://hlinksldjump"/>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rId5" action="ppaction://hlinksldjump"/>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 action="ppaction://noaction"/>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 action="ppaction://noaction"/>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410753238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6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Conclusion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540321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5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5" action="ppaction://hlinksldjump"/>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5" action="ppaction://hlinksldjump"/>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35400680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7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Resourc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321960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6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5" action="ppaction://hlinksldjump"/>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5" action="ppaction://hlinksldjump"/>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366869046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381808923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endParaRPr lang="en-US"/>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110137827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9/2024</a:t>
            </a:fld>
            <a:endParaRPr lang="en-US"/>
          </a:p>
        </p:txBody>
      </p:sp>
    </p:spTree>
    <p:extLst>
      <p:ext uri="{BB962C8B-B14F-4D97-AF65-F5344CB8AC3E}">
        <p14:creationId xmlns:p14="http://schemas.microsoft.com/office/powerpoint/2010/main" val="1242586113"/>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9/2024</a:t>
            </a:fld>
            <a:endParaRPr lang="en-US"/>
          </a:p>
        </p:txBody>
      </p:sp>
    </p:spTree>
    <p:extLst>
      <p:ext uri="{BB962C8B-B14F-4D97-AF65-F5344CB8AC3E}">
        <p14:creationId xmlns:p14="http://schemas.microsoft.com/office/powerpoint/2010/main" val="357255319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9/2024</a:t>
            </a:fld>
            <a:endParaRPr lang="en-US"/>
          </a:p>
        </p:txBody>
      </p:sp>
    </p:spTree>
    <p:extLst>
      <p:ext uri="{BB962C8B-B14F-4D97-AF65-F5344CB8AC3E}">
        <p14:creationId xmlns:p14="http://schemas.microsoft.com/office/powerpoint/2010/main" val="357253246"/>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774493"/>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Tree>
    <p:extLst>
      <p:ext uri="{BB962C8B-B14F-4D97-AF65-F5344CB8AC3E}">
        <p14:creationId xmlns:p14="http://schemas.microsoft.com/office/powerpoint/2010/main" val="470910177"/>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Tree>
    <p:extLst>
      <p:ext uri="{BB962C8B-B14F-4D97-AF65-F5344CB8AC3E}">
        <p14:creationId xmlns:p14="http://schemas.microsoft.com/office/powerpoint/2010/main" val="3379449571"/>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Tree>
    <p:extLst>
      <p:ext uri="{BB962C8B-B14F-4D97-AF65-F5344CB8AC3E}">
        <p14:creationId xmlns:p14="http://schemas.microsoft.com/office/powerpoint/2010/main" val="2198514468"/>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Tree>
    <p:extLst>
      <p:ext uri="{BB962C8B-B14F-4D97-AF65-F5344CB8AC3E}">
        <p14:creationId xmlns:p14="http://schemas.microsoft.com/office/powerpoint/2010/main" val="1784540659"/>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9/2024</a:t>
            </a:fld>
            <a:endParaRPr lang="en-US"/>
          </a:p>
        </p:txBody>
      </p:sp>
    </p:spTree>
    <p:extLst>
      <p:ext uri="{BB962C8B-B14F-4D97-AF65-F5344CB8AC3E}">
        <p14:creationId xmlns:p14="http://schemas.microsoft.com/office/powerpoint/2010/main" val="354824017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9/2024</a:t>
            </a:fld>
            <a:endParaRPr lang="en-US"/>
          </a:p>
        </p:txBody>
      </p:sp>
    </p:spTree>
    <p:extLst>
      <p:ext uri="{BB962C8B-B14F-4D97-AF65-F5344CB8AC3E}">
        <p14:creationId xmlns:p14="http://schemas.microsoft.com/office/powerpoint/2010/main" val="97767887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endParaRPr lang="en-US"/>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348383275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273875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spTree>
    <p:extLst>
      <p:ext uri="{BB962C8B-B14F-4D97-AF65-F5344CB8AC3E}">
        <p14:creationId xmlns:p14="http://schemas.microsoft.com/office/powerpoint/2010/main" val="92166445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98561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9/2024</a:t>
            </a:fld>
            <a:endParaRPr lang="en-US"/>
          </a:p>
        </p:txBody>
      </p:sp>
    </p:spTree>
    <p:extLst>
      <p:ext uri="{BB962C8B-B14F-4D97-AF65-F5344CB8AC3E}">
        <p14:creationId xmlns:p14="http://schemas.microsoft.com/office/powerpoint/2010/main" val="8647378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9/2024</a:t>
            </a:fld>
            <a:endParaRPr lang="en-US"/>
          </a:p>
        </p:txBody>
      </p:sp>
    </p:spTree>
    <p:extLst>
      <p:ext uri="{BB962C8B-B14F-4D97-AF65-F5344CB8AC3E}">
        <p14:creationId xmlns:p14="http://schemas.microsoft.com/office/powerpoint/2010/main" val="180265315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9/2024</a:t>
            </a:fld>
            <a:endParaRPr lang="en-US"/>
          </a:p>
        </p:txBody>
      </p:sp>
    </p:spTree>
    <p:extLst>
      <p:ext uri="{BB962C8B-B14F-4D97-AF65-F5344CB8AC3E}">
        <p14:creationId xmlns:p14="http://schemas.microsoft.com/office/powerpoint/2010/main" val="372568270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9/2024</a:t>
            </a:fld>
            <a:endParaRPr lang="en-US"/>
          </a:p>
        </p:txBody>
      </p:sp>
    </p:spTree>
    <p:extLst>
      <p:ext uri="{BB962C8B-B14F-4D97-AF65-F5344CB8AC3E}">
        <p14:creationId xmlns:p14="http://schemas.microsoft.com/office/powerpoint/2010/main" val="190614931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9/2024</a:t>
            </a:fld>
            <a:endParaRPr lang="en-US"/>
          </a:p>
        </p:txBody>
      </p:sp>
    </p:spTree>
    <p:extLst>
      <p:ext uri="{BB962C8B-B14F-4D97-AF65-F5344CB8AC3E}">
        <p14:creationId xmlns:p14="http://schemas.microsoft.com/office/powerpoint/2010/main" val="54068842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9/2024</a:t>
            </a:fld>
            <a:endParaRPr lang="en-US"/>
          </a:p>
        </p:txBody>
      </p:sp>
    </p:spTree>
    <p:extLst>
      <p:ext uri="{BB962C8B-B14F-4D97-AF65-F5344CB8AC3E}">
        <p14:creationId xmlns:p14="http://schemas.microsoft.com/office/powerpoint/2010/main" val="162449527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9/2024</a:t>
            </a:fld>
            <a:endParaRPr lang="en-US"/>
          </a:p>
        </p:txBody>
      </p:sp>
    </p:spTree>
    <p:extLst>
      <p:ext uri="{BB962C8B-B14F-4D97-AF65-F5344CB8AC3E}">
        <p14:creationId xmlns:p14="http://schemas.microsoft.com/office/powerpoint/2010/main" val="129957682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endParaRPr lang="en-US"/>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164445933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endParaRPr lang="en-US"/>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37397394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95978099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371410857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39811557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20067700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9/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35538518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77429983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25569385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239096458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103015223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255387661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9/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113350564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3722358112"/>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4207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9/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7052854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9/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9195309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07692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9/2024</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926961580"/>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individuals walking and talking with one another while enjoying ice cream.">
            <a:extLst>
              <a:ext uri="{FF2B5EF4-FFF2-40B4-BE49-F238E27FC236}">
                <a16:creationId xmlns:a16="http://schemas.microsoft.com/office/drawing/2014/main" id="{12FF9B2B-62EB-453D-883A-F3D1C5D129E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330041736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74662545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9/2024</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789588140"/>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9/2024</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21519627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9/2024</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2333057601"/>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5325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246216076"/>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2731388002"/>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1157949325"/>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535705064"/>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18806768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41570652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93186384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0599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36323118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53330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9/2024</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407402225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9/2024</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11082081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9/2024</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16828201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9/2024</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23773696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9/2024</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94397349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9/2024</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42211322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40346988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9/2024</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58493827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US" sz="2000" dirty="0"/>
            </a:lvl1pPr>
          </a:lstStyle>
          <a:p>
            <a:pPr lvl="0"/>
            <a:r>
              <a:rPr lang="en-US"/>
              <a:t>Three items layout</a:t>
            </a:r>
          </a:p>
        </p:txBody>
      </p:sp>
      <p:sp>
        <p:nvSpPr>
          <p:cNvPr id="8" name="Text Placeholder 7"/>
          <p:cNvSpPr>
            <a:spLocks noGrp="1"/>
          </p:cNvSpPr>
          <p:nvPr>
            <p:ph type="body" sz="quarter" idx="14" hasCustomPrompt="1"/>
          </p:nvPr>
        </p:nvSpPr>
        <p:spPr>
          <a:xfrm>
            <a:off x="365760" y="914401"/>
            <a:ext cx="36576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4271523" y="914401"/>
            <a:ext cx="36576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8177285" y="914401"/>
            <a:ext cx="36576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65760" y="1645920"/>
            <a:ext cx="36576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2" name="Text Placeholder 7"/>
          <p:cNvSpPr>
            <a:spLocks noGrp="1"/>
          </p:cNvSpPr>
          <p:nvPr>
            <p:ph type="body" sz="quarter" idx="20" hasCustomPrompt="1"/>
          </p:nvPr>
        </p:nvSpPr>
        <p:spPr>
          <a:xfrm>
            <a:off x="4271523" y="1645920"/>
            <a:ext cx="36576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3" name="Text Placeholder 7"/>
          <p:cNvSpPr>
            <a:spLocks noGrp="1"/>
          </p:cNvSpPr>
          <p:nvPr>
            <p:ph type="body" sz="quarter" idx="21" hasCustomPrompt="1"/>
          </p:nvPr>
        </p:nvSpPr>
        <p:spPr>
          <a:xfrm>
            <a:off x="8177285" y="1645920"/>
            <a:ext cx="36576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10"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356627295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31846548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Febr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377701690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114554010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9/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82321462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335643303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28240419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225655340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411658879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63381891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9/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123003525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9/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2332006217"/>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715861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9/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8197653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9/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30738402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97335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9/2024</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76193634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9/2024</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91721852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9/2024</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274514252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9/2024</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46290646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490856877"/>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9/2024</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1802963959"/>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641667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832866843"/>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359788594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540251731"/>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60959664"/>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31115100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9/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6353894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464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25451194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image" Target="../media/image1.png"/><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theme" Target="../theme/theme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40" Type="http://schemas.openxmlformats.org/officeDocument/2006/relationships/image" Target="../media/image2.sv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8" Type="http://schemas.openxmlformats.org/officeDocument/2006/relationships/slideLayout" Target="../slideLayouts/slideLayout43.xml"/><Relationship Id="rId3"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image" Target="../media/image1.png"/><Relationship Id="rId21" Type="http://schemas.openxmlformats.org/officeDocument/2006/relationships/slideLayout" Target="../slideLayouts/slideLayout93.xml"/><Relationship Id="rId34" Type="http://schemas.openxmlformats.org/officeDocument/2006/relationships/slideLayout" Target="../slideLayouts/slideLayout106.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theme" Target="../theme/theme3.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image" Target="../media/image2.svg"/><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8" Type="http://schemas.openxmlformats.org/officeDocument/2006/relationships/slideLayout" Target="../slideLayouts/slideLayout80.xml"/><Relationship Id="rId3" Type="http://schemas.openxmlformats.org/officeDocument/2006/relationships/slideLayout" Target="../slideLayouts/slideLayout7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image" Target="../media/image1.png"/><Relationship Id="rId3" Type="http://schemas.openxmlformats.org/officeDocument/2006/relationships/slideLayout" Target="../slideLayouts/slideLayout112.xml"/><Relationship Id="rId21" Type="http://schemas.openxmlformats.org/officeDocument/2006/relationships/slideLayout" Target="../slideLayouts/slideLayout130.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theme" Target="../theme/theme4.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image" Target="../media/image2.sv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slideLayout" Target="../slideLayouts/slideLayout172.xml"/><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42" Type="http://schemas.openxmlformats.org/officeDocument/2006/relationships/slideLayout" Target="../slideLayouts/slideLayout175.xml"/><Relationship Id="rId47" Type="http://schemas.openxmlformats.org/officeDocument/2006/relationships/slideLayout" Target="../slideLayouts/slideLayout180.xml"/><Relationship Id="rId50" Type="http://schemas.openxmlformats.org/officeDocument/2006/relationships/theme" Target="../theme/theme5.xml"/><Relationship Id="rId7" Type="http://schemas.openxmlformats.org/officeDocument/2006/relationships/slideLayout" Target="../slideLayouts/slideLayout14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9" Type="http://schemas.openxmlformats.org/officeDocument/2006/relationships/slideLayout" Target="../slideLayouts/slideLayout162.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slideLayout" Target="../slideLayouts/slideLayout173.xml"/><Relationship Id="rId45" Type="http://schemas.openxmlformats.org/officeDocument/2006/relationships/slideLayout" Target="../slideLayouts/slideLayout178.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49" Type="http://schemas.openxmlformats.org/officeDocument/2006/relationships/slideLayout" Target="../slideLayouts/slideLayout182.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4" Type="http://schemas.openxmlformats.org/officeDocument/2006/relationships/slideLayout" Target="../slideLayouts/slideLayout177.xml"/><Relationship Id="rId52" Type="http://schemas.openxmlformats.org/officeDocument/2006/relationships/image" Target="../media/image2.svg"/><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43" Type="http://schemas.openxmlformats.org/officeDocument/2006/relationships/slideLayout" Target="../slideLayouts/slideLayout176.xml"/><Relationship Id="rId48" Type="http://schemas.openxmlformats.org/officeDocument/2006/relationships/slideLayout" Target="../slideLayouts/slideLayout181.xml"/><Relationship Id="rId8" Type="http://schemas.openxmlformats.org/officeDocument/2006/relationships/slideLayout" Target="../slideLayouts/slideLayout141.xml"/><Relationship Id="rId51" Type="http://schemas.openxmlformats.org/officeDocument/2006/relationships/image" Target="../media/image1.png"/><Relationship Id="rId3" Type="http://schemas.openxmlformats.org/officeDocument/2006/relationships/slideLayout" Target="../slideLayouts/slideLayout136.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slideLayout" Target="../slideLayouts/slideLayout171.xml"/><Relationship Id="rId46" Type="http://schemas.openxmlformats.org/officeDocument/2006/relationships/slideLayout" Target="../slideLayouts/slideLayout179.xml"/><Relationship Id="rId20" Type="http://schemas.openxmlformats.org/officeDocument/2006/relationships/slideLayout" Target="../slideLayouts/slideLayout153.xml"/><Relationship Id="rId41" Type="http://schemas.openxmlformats.org/officeDocument/2006/relationships/slideLayout" Target="../slideLayouts/slideLayout174.xml"/><Relationship Id="rId1" Type="http://schemas.openxmlformats.org/officeDocument/2006/relationships/slideLayout" Target="../slideLayouts/slideLayout134.xml"/><Relationship Id="rId6" Type="http://schemas.openxmlformats.org/officeDocument/2006/relationships/slideLayout" Target="../slideLayouts/slideLayout13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image" Target="../media/image2.svg"/><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image" Target="../media/image1.png"/><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slideLayout" Target="../slideLayouts/slideLayout229.xml"/><Relationship Id="rId39" Type="http://schemas.openxmlformats.org/officeDocument/2006/relationships/slideLayout" Target="../slideLayouts/slideLayout242.xml"/><Relationship Id="rId21" Type="http://schemas.openxmlformats.org/officeDocument/2006/relationships/slideLayout" Target="../slideLayouts/slideLayout224.xml"/><Relationship Id="rId34" Type="http://schemas.openxmlformats.org/officeDocument/2006/relationships/slideLayout" Target="../slideLayouts/slideLayout237.xml"/><Relationship Id="rId42" Type="http://schemas.openxmlformats.org/officeDocument/2006/relationships/slideLayout" Target="../slideLayouts/slideLayout245.xml"/><Relationship Id="rId47" Type="http://schemas.openxmlformats.org/officeDocument/2006/relationships/slideLayout" Target="../slideLayouts/slideLayout250.xml"/><Relationship Id="rId50" Type="http://schemas.openxmlformats.org/officeDocument/2006/relationships/image" Target="../media/image1.png"/><Relationship Id="rId7" Type="http://schemas.openxmlformats.org/officeDocument/2006/relationships/slideLayout" Target="../slideLayouts/slideLayout210.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9" Type="http://schemas.openxmlformats.org/officeDocument/2006/relationships/slideLayout" Target="../slideLayouts/slideLayout232.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32" Type="http://schemas.openxmlformats.org/officeDocument/2006/relationships/slideLayout" Target="../slideLayouts/slideLayout235.xml"/><Relationship Id="rId37" Type="http://schemas.openxmlformats.org/officeDocument/2006/relationships/slideLayout" Target="../slideLayouts/slideLayout240.xml"/><Relationship Id="rId40" Type="http://schemas.openxmlformats.org/officeDocument/2006/relationships/slideLayout" Target="../slideLayouts/slideLayout243.xml"/><Relationship Id="rId45" Type="http://schemas.openxmlformats.org/officeDocument/2006/relationships/slideLayout" Target="../slideLayouts/slideLayout248.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slideLayout" Target="../slideLayouts/slideLayout231.xml"/><Relationship Id="rId36" Type="http://schemas.openxmlformats.org/officeDocument/2006/relationships/slideLayout" Target="../slideLayouts/slideLayout239.xml"/><Relationship Id="rId49" Type="http://schemas.openxmlformats.org/officeDocument/2006/relationships/theme" Target="../theme/theme7.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31" Type="http://schemas.openxmlformats.org/officeDocument/2006/relationships/slideLayout" Target="../slideLayouts/slideLayout234.xml"/><Relationship Id="rId44" Type="http://schemas.openxmlformats.org/officeDocument/2006/relationships/slideLayout" Target="../slideLayouts/slideLayout247.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slideLayout" Target="../slideLayouts/slideLayout230.xml"/><Relationship Id="rId30" Type="http://schemas.openxmlformats.org/officeDocument/2006/relationships/slideLayout" Target="../slideLayouts/slideLayout233.xml"/><Relationship Id="rId35" Type="http://schemas.openxmlformats.org/officeDocument/2006/relationships/slideLayout" Target="../slideLayouts/slideLayout238.xml"/><Relationship Id="rId43" Type="http://schemas.openxmlformats.org/officeDocument/2006/relationships/slideLayout" Target="../slideLayouts/slideLayout246.xml"/><Relationship Id="rId48" Type="http://schemas.openxmlformats.org/officeDocument/2006/relationships/slideLayout" Target="../slideLayouts/slideLayout251.xml"/><Relationship Id="rId8" Type="http://schemas.openxmlformats.org/officeDocument/2006/relationships/slideLayout" Target="../slideLayouts/slideLayout211.xml"/><Relationship Id="rId51" Type="http://schemas.openxmlformats.org/officeDocument/2006/relationships/image" Target="../media/image2.svg"/><Relationship Id="rId3" Type="http://schemas.openxmlformats.org/officeDocument/2006/relationships/slideLayout" Target="../slideLayouts/slideLayout206.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33" Type="http://schemas.openxmlformats.org/officeDocument/2006/relationships/slideLayout" Target="../slideLayouts/slideLayout236.xml"/><Relationship Id="rId38" Type="http://schemas.openxmlformats.org/officeDocument/2006/relationships/slideLayout" Target="../slideLayouts/slideLayout241.xml"/><Relationship Id="rId46" Type="http://schemas.openxmlformats.org/officeDocument/2006/relationships/slideLayout" Target="../slideLayouts/slideLayout249.xml"/><Relationship Id="rId20" Type="http://schemas.openxmlformats.org/officeDocument/2006/relationships/slideLayout" Target="../slideLayouts/slideLayout223.xml"/><Relationship Id="rId41" Type="http://schemas.openxmlformats.org/officeDocument/2006/relationships/slideLayout" Target="../slideLayouts/slideLayout244.xml"/><Relationship Id="rId1" Type="http://schemas.openxmlformats.org/officeDocument/2006/relationships/slideLayout" Target="../slideLayouts/slideLayout204.xml"/><Relationship Id="rId6" Type="http://schemas.openxmlformats.org/officeDocument/2006/relationships/slideLayout" Target="../slideLayouts/slideLayout20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3" Type="http://schemas.openxmlformats.org/officeDocument/2006/relationships/slideLayout" Target="../slideLayouts/slideLayout254.xml"/><Relationship Id="rId21" Type="http://schemas.openxmlformats.org/officeDocument/2006/relationships/theme" Target="../theme/theme8.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23" Type="http://schemas.openxmlformats.org/officeDocument/2006/relationships/image" Target="../media/image2.svg"/><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 Id="rId22"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26" Type="http://schemas.openxmlformats.org/officeDocument/2006/relationships/slideLayout" Target="../slideLayouts/slideLayout297.xml"/><Relationship Id="rId39" Type="http://schemas.openxmlformats.org/officeDocument/2006/relationships/slideLayout" Target="../slideLayouts/slideLayout310.xml"/><Relationship Id="rId21" Type="http://schemas.openxmlformats.org/officeDocument/2006/relationships/slideLayout" Target="../slideLayouts/slideLayout292.xml"/><Relationship Id="rId34" Type="http://schemas.openxmlformats.org/officeDocument/2006/relationships/slideLayout" Target="../slideLayouts/slideLayout305.xml"/><Relationship Id="rId42" Type="http://schemas.openxmlformats.org/officeDocument/2006/relationships/slideLayout" Target="../slideLayouts/slideLayout313.xml"/><Relationship Id="rId47" Type="http://schemas.openxmlformats.org/officeDocument/2006/relationships/slideLayout" Target="../slideLayouts/slideLayout318.xml"/><Relationship Id="rId50" Type="http://schemas.openxmlformats.org/officeDocument/2006/relationships/image" Target="../media/image1.png"/><Relationship Id="rId7" Type="http://schemas.openxmlformats.org/officeDocument/2006/relationships/slideLayout" Target="../slideLayouts/slideLayout278.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9" Type="http://schemas.openxmlformats.org/officeDocument/2006/relationships/slideLayout" Target="../slideLayouts/slideLayout300.xml"/><Relationship Id="rId11" Type="http://schemas.openxmlformats.org/officeDocument/2006/relationships/slideLayout" Target="../slideLayouts/slideLayout282.xml"/><Relationship Id="rId24" Type="http://schemas.openxmlformats.org/officeDocument/2006/relationships/slideLayout" Target="../slideLayouts/slideLayout295.xml"/><Relationship Id="rId32" Type="http://schemas.openxmlformats.org/officeDocument/2006/relationships/slideLayout" Target="../slideLayouts/slideLayout303.xml"/><Relationship Id="rId37" Type="http://schemas.openxmlformats.org/officeDocument/2006/relationships/slideLayout" Target="../slideLayouts/slideLayout308.xml"/><Relationship Id="rId40" Type="http://schemas.openxmlformats.org/officeDocument/2006/relationships/slideLayout" Target="../slideLayouts/slideLayout311.xml"/><Relationship Id="rId45" Type="http://schemas.openxmlformats.org/officeDocument/2006/relationships/slideLayout" Target="../slideLayouts/slideLayout316.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23" Type="http://schemas.openxmlformats.org/officeDocument/2006/relationships/slideLayout" Target="../slideLayouts/slideLayout294.xml"/><Relationship Id="rId28" Type="http://schemas.openxmlformats.org/officeDocument/2006/relationships/slideLayout" Target="../slideLayouts/slideLayout299.xml"/><Relationship Id="rId36" Type="http://schemas.openxmlformats.org/officeDocument/2006/relationships/slideLayout" Target="../slideLayouts/slideLayout307.xml"/><Relationship Id="rId49" Type="http://schemas.openxmlformats.org/officeDocument/2006/relationships/theme" Target="../theme/theme9.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31" Type="http://schemas.openxmlformats.org/officeDocument/2006/relationships/slideLayout" Target="../slideLayouts/slideLayout302.xml"/><Relationship Id="rId44" Type="http://schemas.openxmlformats.org/officeDocument/2006/relationships/slideLayout" Target="../slideLayouts/slideLayout315.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 Id="rId22" Type="http://schemas.openxmlformats.org/officeDocument/2006/relationships/slideLayout" Target="../slideLayouts/slideLayout293.xml"/><Relationship Id="rId27" Type="http://schemas.openxmlformats.org/officeDocument/2006/relationships/slideLayout" Target="../slideLayouts/slideLayout298.xml"/><Relationship Id="rId30" Type="http://schemas.openxmlformats.org/officeDocument/2006/relationships/slideLayout" Target="../slideLayouts/slideLayout301.xml"/><Relationship Id="rId35" Type="http://schemas.openxmlformats.org/officeDocument/2006/relationships/slideLayout" Target="../slideLayouts/slideLayout306.xml"/><Relationship Id="rId43" Type="http://schemas.openxmlformats.org/officeDocument/2006/relationships/slideLayout" Target="../slideLayouts/slideLayout314.xml"/><Relationship Id="rId48" Type="http://schemas.openxmlformats.org/officeDocument/2006/relationships/slideLayout" Target="../slideLayouts/slideLayout319.xml"/><Relationship Id="rId8" Type="http://schemas.openxmlformats.org/officeDocument/2006/relationships/slideLayout" Target="../slideLayouts/slideLayout279.xml"/><Relationship Id="rId51" Type="http://schemas.openxmlformats.org/officeDocument/2006/relationships/image" Target="../media/image2.svg"/><Relationship Id="rId3" Type="http://schemas.openxmlformats.org/officeDocument/2006/relationships/slideLayout" Target="../slideLayouts/slideLayout274.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5" Type="http://schemas.openxmlformats.org/officeDocument/2006/relationships/slideLayout" Target="../slideLayouts/slideLayout296.xml"/><Relationship Id="rId33" Type="http://schemas.openxmlformats.org/officeDocument/2006/relationships/slideLayout" Target="../slideLayouts/slideLayout304.xml"/><Relationship Id="rId38" Type="http://schemas.openxmlformats.org/officeDocument/2006/relationships/slideLayout" Target="../slideLayouts/slideLayout309.xml"/><Relationship Id="rId46" Type="http://schemas.openxmlformats.org/officeDocument/2006/relationships/slideLayout" Target="../slideLayouts/slideLayout317.xml"/><Relationship Id="rId20" Type="http://schemas.openxmlformats.org/officeDocument/2006/relationships/slideLayout" Target="../slideLayouts/slideLayout291.xml"/><Relationship Id="rId41" Type="http://schemas.openxmlformats.org/officeDocument/2006/relationships/slideLayout" Target="../slideLayouts/slideLayout312.xml"/><Relationship Id="rId1" Type="http://schemas.openxmlformats.org/officeDocument/2006/relationships/slideLayout" Target="../slideLayouts/slideLayout272.xml"/><Relationship Id="rId6" Type="http://schemas.openxmlformats.org/officeDocument/2006/relationships/slideLayout" Target="../slideLayouts/slideLayout2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age number">
            <a:extLst>
              <a:ext uri="{FF2B5EF4-FFF2-40B4-BE49-F238E27FC236}">
                <a16:creationId xmlns:a16="http://schemas.microsoft.com/office/drawing/2014/main" id="{43B6C28E-DF9A-44F3-A9C1-829C74510E39}"/>
              </a:ext>
            </a:extLst>
          </p:cNvPr>
          <p:cNvSpPr txBox="1"/>
          <p:nvPr/>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1A17F688-B5D9-4458-B5A9-42A09231BAB4}" type="slidenum">
              <a:rPr lang="en-US" smtClean="0"/>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AB15E718-ABC6-4932-99B3-50D7051DB21B}" type="datetimeFigureOut">
              <a:rPr lang="en-US" smtClean="0"/>
              <a:t>1/9/2024</a:t>
            </a:fld>
            <a:endParaRPr lang="en-US"/>
          </a:p>
        </p:txBody>
      </p:sp>
    </p:spTree>
    <p:extLst>
      <p:ext uri="{BB962C8B-B14F-4D97-AF65-F5344CB8AC3E}">
        <p14:creationId xmlns:p14="http://schemas.microsoft.com/office/powerpoint/2010/main" val="36139189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Lst>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9/2024</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118862067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9/2024</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81273199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763" r:id="rId29"/>
    <p:sldLayoutId id="2147483764" r:id="rId30"/>
    <p:sldLayoutId id="2147483765" r:id="rId31"/>
    <p:sldLayoutId id="2147483766" r:id="rId32"/>
    <p:sldLayoutId id="2147483767" r:id="rId33"/>
    <p:sldLayoutId id="2147483768" r:id="rId34"/>
    <p:sldLayoutId id="2147483769" r:id="rId35"/>
    <p:sldLayoutId id="2147483770" r:id="rId36"/>
    <p:sldLayoutId id="2147483774" r:id="rId37"/>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5B20C24A-7F63-4C9D-B8AA-DB5AFD0AB0C4}" type="datetimeFigureOut">
              <a:rPr lang="en-US" smtClean="0"/>
              <a:t>1/9/2024</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B519C85C-EAC9-48AD-98B2-AD409FB15711}" type="slidenum">
              <a:rPr lang="en-US" smtClean="0"/>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endParaRPr lang="en-US"/>
          </a:p>
        </p:txBody>
      </p:sp>
      <p:sp>
        <p:nvSpPr>
          <p:cNvPr id="14" name="Copyright">
            <a:extLst>
              <a:ext uri="{FF2B5EF4-FFF2-40B4-BE49-F238E27FC236}">
                <a16:creationId xmlns:a16="http://schemas.microsoft.com/office/drawing/2014/main" id="{60BE7E32-782B-4635-9369-4283481B5B95}"/>
              </a:ext>
            </a:extLst>
          </p:cNvPr>
          <p:cNvSpPr txBox="1"/>
          <p:nvPr/>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3475824426"/>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Lst>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9/2024</a:t>
            </a:fld>
            <a:endParaRPr lang="en-US"/>
          </a:p>
        </p:txBody>
      </p:sp>
    </p:spTree>
    <p:extLst>
      <p:ext uri="{BB962C8B-B14F-4D97-AF65-F5344CB8AC3E}">
        <p14:creationId xmlns:p14="http://schemas.microsoft.com/office/powerpoint/2010/main" val="350041508"/>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 id="2147483835" r:id="rId33"/>
    <p:sldLayoutId id="2147483836" r:id="rId34"/>
    <p:sldLayoutId id="2147483837" r:id="rId35"/>
    <p:sldLayoutId id="2147483838" r:id="rId36"/>
    <p:sldLayoutId id="2147483839" r:id="rId37"/>
    <p:sldLayoutId id="2147483840" r:id="rId38"/>
    <p:sldLayoutId id="2147483841" r:id="rId39"/>
    <p:sldLayoutId id="2147483842" r:id="rId40"/>
    <p:sldLayoutId id="2147483843" r:id="rId41"/>
    <p:sldLayoutId id="2147483844" r:id="rId42"/>
    <p:sldLayoutId id="2147483845" r:id="rId43"/>
    <p:sldLayoutId id="2147483846" r:id="rId44"/>
    <p:sldLayoutId id="2147483847" r:id="rId45"/>
    <p:sldLayoutId id="2147483848" r:id="rId46"/>
    <p:sldLayoutId id="2147483849" r:id="rId47"/>
    <p:sldLayoutId id="2147483850" r:id="rId48"/>
    <p:sldLayoutId id="2147483851" r:id="rId49"/>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B2010ADC-CE51-4E19-8BB2-F5C5528EE742}" type="datetimeFigureOut">
              <a:rPr lang="en-US" smtClean="0"/>
              <a:t>1/9/2024</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4BAD2D60-96E1-4492-BCA6-2032913C8ACA}" type="slidenum">
              <a:rPr lang="en-US" smtClean="0"/>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endParaRPr lang="en-US"/>
          </a:p>
        </p:txBody>
      </p:sp>
      <p:sp>
        <p:nvSpPr>
          <p:cNvPr id="14" name="Copyright">
            <a:extLst>
              <a:ext uri="{FF2B5EF4-FFF2-40B4-BE49-F238E27FC236}">
                <a16:creationId xmlns:a16="http://schemas.microsoft.com/office/drawing/2014/main" id="{60BE7E32-782B-4635-9369-4283481B5B95}"/>
              </a:ext>
            </a:extLst>
          </p:cNvPr>
          <p:cNvSpPr txBox="1"/>
          <p:nvPr/>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2093833691"/>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3" r:id="rId21"/>
  </p:sldLayoutIdLst>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9/2024</a:t>
            </a:fld>
            <a:endParaRPr lang="en-US"/>
          </a:p>
        </p:txBody>
      </p:sp>
    </p:spTree>
    <p:extLst>
      <p:ext uri="{BB962C8B-B14F-4D97-AF65-F5344CB8AC3E}">
        <p14:creationId xmlns:p14="http://schemas.microsoft.com/office/powerpoint/2010/main" val="2158447816"/>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 id="2147483899" r:id="rId25"/>
    <p:sldLayoutId id="2147483900" r:id="rId26"/>
    <p:sldLayoutId id="2147483901" r:id="rId27"/>
    <p:sldLayoutId id="2147483902" r:id="rId28"/>
    <p:sldLayoutId id="2147483903" r:id="rId29"/>
    <p:sldLayoutId id="2147483904" r:id="rId30"/>
    <p:sldLayoutId id="2147483905" r:id="rId31"/>
    <p:sldLayoutId id="2147483906" r:id="rId32"/>
    <p:sldLayoutId id="2147483907" r:id="rId33"/>
    <p:sldLayoutId id="2147483908" r:id="rId34"/>
    <p:sldLayoutId id="2147483909" r:id="rId35"/>
    <p:sldLayoutId id="2147483910" r:id="rId36"/>
    <p:sldLayoutId id="2147483911" r:id="rId37"/>
    <p:sldLayoutId id="2147483912" r:id="rId38"/>
    <p:sldLayoutId id="2147483913" r:id="rId39"/>
    <p:sldLayoutId id="2147483914" r:id="rId40"/>
    <p:sldLayoutId id="2147483915" r:id="rId41"/>
    <p:sldLayoutId id="2147483916" r:id="rId42"/>
    <p:sldLayoutId id="2147483917" r:id="rId43"/>
    <p:sldLayoutId id="2147483918" r:id="rId44"/>
    <p:sldLayoutId id="2147483919" r:id="rId45"/>
    <p:sldLayoutId id="2147483920" r:id="rId46"/>
    <p:sldLayoutId id="2147483921" r:id="rId47"/>
    <p:sldLayoutId id="2147483922" r:id="rId48"/>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9/2024</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2976836250"/>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9/2024</a:t>
            </a:fld>
            <a:endParaRPr lang="en-US"/>
          </a:p>
        </p:txBody>
      </p:sp>
    </p:spTree>
    <p:extLst>
      <p:ext uri="{BB962C8B-B14F-4D97-AF65-F5344CB8AC3E}">
        <p14:creationId xmlns:p14="http://schemas.microsoft.com/office/powerpoint/2010/main" val="1182451534"/>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 id="2147483966" r:id="rId21"/>
    <p:sldLayoutId id="2147483967" r:id="rId22"/>
    <p:sldLayoutId id="2147483968" r:id="rId23"/>
    <p:sldLayoutId id="2147483969" r:id="rId24"/>
    <p:sldLayoutId id="2147483970" r:id="rId25"/>
    <p:sldLayoutId id="2147483971" r:id="rId26"/>
    <p:sldLayoutId id="2147483972" r:id="rId27"/>
    <p:sldLayoutId id="2147483973" r:id="rId28"/>
    <p:sldLayoutId id="2147483974" r:id="rId29"/>
    <p:sldLayoutId id="2147483975" r:id="rId30"/>
    <p:sldLayoutId id="2147483976" r:id="rId31"/>
    <p:sldLayoutId id="2147483977" r:id="rId32"/>
    <p:sldLayoutId id="2147483978" r:id="rId33"/>
    <p:sldLayoutId id="2147483979" r:id="rId34"/>
    <p:sldLayoutId id="2147483980" r:id="rId35"/>
    <p:sldLayoutId id="2147483981" r:id="rId36"/>
    <p:sldLayoutId id="2147483982" r:id="rId37"/>
    <p:sldLayoutId id="2147483983" r:id="rId38"/>
    <p:sldLayoutId id="2147483984" r:id="rId39"/>
    <p:sldLayoutId id="2147483985" r:id="rId40"/>
    <p:sldLayoutId id="2147483986" r:id="rId41"/>
    <p:sldLayoutId id="2147483987" r:id="rId42"/>
    <p:sldLayoutId id="2147483988" r:id="rId43"/>
    <p:sldLayoutId id="2147483989" r:id="rId44"/>
    <p:sldLayoutId id="2147483990" r:id="rId45"/>
    <p:sldLayoutId id="2147483991" r:id="rId46"/>
    <p:sldLayoutId id="2147483992" r:id="rId47"/>
    <p:sldLayoutId id="2147483993" r:id="rId48"/>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hyperlink" Target="https://measure.whatworkswellbeing.org/measures-bank/" TargetMode="External"/><Relationship Id="rId2" Type="http://schemas.openxmlformats.org/officeDocument/2006/relationships/hyperlink" Target="https://measure.whatworkswellbeing.org/measures-bank/ons4/" TargetMode="External"/><Relationship Id="rId1" Type="http://schemas.openxmlformats.org/officeDocument/2006/relationships/slideLayout" Target="../slideLayouts/slideLayout289.xml"/><Relationship Id="rId5" Type="http://schemas.openxmlformats.org/officeDocument/2006/relationships/slide" Target="slide29.xml"/><Relationship Id="rId4" Type="http://schemas.openxmlformats.org/officeDocument/2006/relationships/slide" Target="slide9.xml"/></Relationships>
</file>

<file path=ppt/slides/_rels/slide1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8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3" Type="http://schemas.openxmlformats.org/officeDocument/2006/relationships/hyperlink" Target="http://sthda.com/english/wiki/paired-samples-t-test-in-r" TargetMode="External"/><Relationship Id="rId2" Type="http://schemas.openxmlformats.org/officeDocument/2006/relationships/slide" Target="slide31.xml"/><Relationship Id="rId1" Type="http://schemas.openxmlformats.org/officeDocument/2006/relationships/slideLayout" Target="../slideLayouts/slideLayout293.xml"/><Relationship Id="rId6" Type="http://schemas.openxmlformats.org/officeDocument/2006/relationships/slide" Target="slide18.xml"/><Relationship Id="rId5" Type="http://schemas.openxmlformats.org/officeDocument/2006/relationships/slide" Target="slide41.xml"/><Relationship Id="rId4" Type="http://schemas.openxmlformats.org/officeDocument/2006/relationships/hyperlink" Target="https://stats.libretexts.org/Bookshelves/Advanced_Statistics/Analysis_of_Variance_and_Design_of_Experiments/11%3A_Introduction_to_Repeated_Measures"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stats.libretexts.org/Bookshelves/Advanced_Statistics/Analysis_of_Variance_and_Design_of_Experiments/11%3A_Introduction_to_Repeated_Measures" TargetMode="External"/><Relationship Id="rId2" Type="http://schemas.openxmlformats.org/officeDocument/2006/relationships/hyperlink" Target="http://sthda.com/english/wiki/paired-samples-t-test-in-r" TargetMode="External"/><Relationship Id="rId1" Type="http://schemas.openxmlformats.org/officeDocument/2006/relationships/slideLayout" Target="../slideLayouts/slideLayout293.xml"/><Relationship Id="rId5" Type="http://schemas.openxmlformats.org/officeDocument/2006/relationships/slide" Target="slide18.xml"/><Relationship Id="rId4" Type="http://schemas.openxmlformats.org/officeDocument/2006/relationships/slide" Target="slide41.xml"/></Relationships>
</file>

<file path=ppt/slides/_rels/slide16.xml.rels><?xml version="1.0" encoding="UTF-8" standalone="yes"?>
<Relationships xmlns="http://schemas.openxmlformats.org/package/2006/relationships"><Relationship Id="rId3" Type="http://schemas.openxmlformats.org/officeDocument/2006/relationships/hyperlink" Target="https://www.mygreatlearning.com/blog/introduction-to-multivariate-regression/" TargetMode="External"/><Relationship Id="rId2" Type="http://schemas.openxmlformats.org/officeDocument/2006/relationships/slide" Target="slide18.xml"/><Relationship Id="rId1" Type="http://schemas.openxmlformats.org/officeDocument/2006/relationships/slideLayout" Target="../slideLayouts/slideLayout293.xml"/><Relationship Id="rId4" Type="http://schemas.openxmlformats.org/officeDocument/2006/relationships/slide" Target="slide41.xml"/></Relationships>
</file>

<file path=ppt/slides/_rels/slide17.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slide" Target="slide16.xml"/><Relationship Id="rId1" Type="http://schemas.openxmlformats.org/officeDocument/2006/relationships/slideLayout" Target="../slideLayouts/slideLayout293.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www.nuffieldtrust.org.uk/research/evaluation-of-complex-health-and-care-interventions-using-retrospective-matched-control-methods" TargetMode="External"/><Relationship Id="rId1" Type="http://schemas.openxmlformats.org/officeDocument/2006/relationships/slideLayout" Target="../slideLayouts/slideLayout86.xml"/><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slide" Target="slide41.xml"/><Relationship Id="rId2" Type="http://schemas.openxmlformats.org/officeDocument/2006/relationships/hyperlink" Target="https://www.gov.uk/guidance/randomised-controlled-trial-comparative-studies" TargetMode="External"/><Relationship Id="rId1" Type="http://schemas.openxmlformats.org/officeDocument/2006/relationships/slideLayout" Target="../slideLayouts/slideLayout29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83.xml"/></Relationships>
</file>

<file path=ppt/slides/_rels/slide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5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58.xml"/></Relationships>
</file>

<file path=ppt/slides/_rels/slide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86.xml"/></Relationships>
</file>

<file path=ppt/slides/_rels/slide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86.xml"/></Relationships>
</file>

<file path=ppt/slides/_rels/slide2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86.xml"/></Relationships>
</file>

<file path=ppt/slides/_rels/slide2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58.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hyperlink" Target="https://www.ncbi.nlm.nih.gov/pmc/articles/PMC4589117/" TargetMode="External"/><Relationship Id="rId2" Type="http://schemas.openxmlformats.org/officeDocument/2006/relationships/diagramData" Target="../diagrams/data2.xml"/><Relationship Id="rId1" Type="http://schemas.openxmlformats.org/officeDocument/2006/relationships/slideLayout" Target="../slideLayouts/slideLayout8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86.xml"/><Relationship Id="rId6" Type="http://schemas.openxmlformats.org/officeDocument/2006/relationships/image" Target="../media/image47.jpeg"/><Relationship Id="rId5" Type="http://schemas.openxmlformats.org/officeDocument/2006/relationships/image" Target="../media/image3.png"/><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8.xml"/></Relationships>
</file>

<file path=ppt/slides/_rels/slide3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58.xml"/></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58.xml"/><Relationship Id="rId4" Type="http://schemas.openxmlformats.org/officeDocument/2006/relationships/image" Target="../media/image52.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58.xml"/></Relationships>
</file>

<file path=ppt/slides/_rels/slide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58.xml"/></Relationships>
</file>

<file path=ppt/slides/_rels/slide36.xml.rels><?xml version="1.0" encoding="UTF-8" standalone="yes"?>
<Relationships xmlns="http://schemas.openxmlformats.org/package/2006/relationships"><Relationship Id="rId3" Type="http://schemas.openxmlformats.org/officeDocument/2006/relationships/hyperlink" Target="https://stats.libretexts.org/Bookshelves/Advanced_Statistics/Analysis_of_Variance_and_Design_of_Experiments/11%3A_Introduction_to_Repeated_Measures" TargetMode="External"/><Relationship Id="rId2" Type="http://schemas.openxmlformats.org/officeDocument/2006/relationships/hyperlink" Target="http://sthda.com/english/wiki/paired-samples-t-test-in-r" TargetMode="External"/><Relationship Id="rId1" Type="http://schemas.openxmlformats.org/officeDocument/2006/relationships/slideLayout" Target="../slideLayouts/slideLayout295.xml"/></Relationships>
</file>

<file path=ppt/slides/_rels/slide37.xml.rels><?xml version="1.0" encoding="UTF-8" standalone="yes"?>
<Relationships xmlns="http://schemas.openxmlformats.org/package/2006/relationships"><Relationship Id="rId3" Type="http://schemas.openxmlformats.org/officeDocument/2006/relationships/hyperlink" Target="https://www.statology.org/paired-samples-t-test-excel/" TargetMode="External"/><Relationship Id="rId7" Type="http://schemas.openxmlformats.org/officeDocument/2006/relationships/slide" Target="slide14.xml"/><Relationship Id="rId2" Type="http://schemas.openxmlformats.org/officeDocument/2006/relationships/hyperlink" Target="https://www.statology.org/how-to-load-the-analysis-toolpak-in-excel/" TargetMode="External"/><Relationship Id="rId1" Type="http://schemas.openxmlformats.org/officeDocument/2006/relationships/slideLayout" Target="../slideLayouts/slideLayout295.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hyperlink" Target="https://stats.libretexts.org/Bookshelves/Advanced_Statistics/Analysis_of_Variance_and_Design_of_Experiments/11%3A_Introduction_to_Repeated_Measures" TargetMode="Externa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39.xml.rels><?xml version="1.0" encoding="UTF-8" standalone="yes"?>
<Relationships xmlns="http://schemas.openxmlformats.org/package/2006/relationships"><Relationship Id="rId3" Type="http://schemas.openxmlformats.org/officeDocument/2006/relationships/slide" Target="slide31.xml"/><Relationship Id="rId2" Type="http://schemas.openxmlformats.org/officeDocument/2006/relationships/slide" Target="slide37.xml"/><Relationship Id="rId1" Type="http://schemas.openxmlformats.org/officeDocument/2006/relationships/slideLayout" Target="../slideLayouts/slideLayout29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40.xml.rels><?xml version="1.0" encoding="UTF-8" standalone="yes"?>
<Relationships xmlns="http://schemas.openxmlformats.org/package/2006/relationships"><Relationship Id="rId2" Type="http://schemas.openxmlformats.org/officeDocument/2006/relationships/slide" Target="slide39.xml"/><Relationship Id="rId1" Type="http://schemas.openxmlformats.org/officeDocument/2006/relationships/slideLayout" Target="../slideLayouts/slideLayout29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xml"/><Relationship Id="rId1" Type="http://schemas.openxmlformats.org/officeDocument/2006/relationships/slideLayout" Target="../slideLayouts/slideLayout119.xml"/><Relationship Id="rId6" Type="http://schemas.openxmlformats.org/officeDocument/2006/relationships/hyperlink" Target="https://info.optum.co.uk/evaluation-toolkit" TargetMode="External"/><Relationship Id="rId5" Type="http://schemas.openxmlformats.org/officeDocument/2006/relationships/image" Target="../media/image33.png"/><Relationship Id="rId4" Type="http://schemas.openxmlformats.org/officeDocument/2006/relationships/hyperlink" Target="mailto:marcus.green@optum.com" TargetMode="External"/></Relationships>
</file>

<file path=ppt/slides/_rels/slide43.xml.rels><?xml version="1.0" encoding="UTF-8" standalone="yes"?>
<Relationships xmlns="http://schemas.openxmlformats.org/package/2006/relationships"><Relationship Id="rId2" Type="http://schemas.openxmlformats.org/officeDocument/2006/relationships/hyperlink" Target="mailto:Layla.bahramijovein@optum.com" TargetMode="External"/><Relationship Id="rId1" Type="http://schemas.openxmlformats.org/officeDocument/2006/relationships/slideLayout" Target="../slideLayouts/slideLayout182.xml"/></Relationships>
</file>

<file path=ppt/slides/_rels/slide4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hyperlink" Target="mailto:Thomas.Herweijer@swlondon.nhs.uk" TargetMode="External"/><Relationship Id="rId1" Type="http://schemas.openxmlformats.org/officeDocument/2006/relationships/slideLayout" Target="../slideLayouts/slideLayout71.xml"/><Relationship Id="rId4" Type="http://schemas.openxmlformats.org/officeDocument/2006/relationships/image" Target="../media/image60.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58.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58.xml"/></Relationships>
</file>

<file path=ppt/slides/_rels/slide7.xml.rels><?xml version="1.0" encoding="UTF-8" standalone="yes"?>
<Relationships xmlns="http://schemas.openxmlformats.org/package/2006/relationships"><Relationship Id="rId8" Type="http://schemas.openxmlformats.org/officeDocument/2006/relationships/hyperlink" Target="mailto:isl.support@nhs.net" TargetMode="External"/><Relationship Id="rId13" Type="http://schemas.openxmlformats.org/officeDocument/2006/relationships/image" Target="../media/image33.png"/><Relationship Id="rId3" Type="http://schemas.openxmlformats.org/officeDocument/2006/relationships/hyperlink" Target="https://www.ons.gov.uk/" TargetMode="External"/><Relationship Id="rId7" Type="http://schemas.openxmlformats.org/officeDocument/2006/relationships/hyperlink" Target="https://ukdataservice.ac.uk/" TargetMode="External"/><Relationship Id="rId12" Type="http://schemas.openxmlformats.org/officeDocument/2006/relationships/hyperlink" Target="https://info.optum.co.uk/evaluation-toolkit" TargetMode="External"/><Relationship Id="rId2" Type="http://schemas.openxmlformats.org/officeDocument/2006/relationships/hyperlink" Target="https://fingertips.phe.org.uk/" TargetMode="External"/><Relationship Id="rId1" Type="http://schemas.openxmlformats.org/officeDocument/2006/relationships/slideLayout" Target="../slideLayouts/slideLayout289.xml"/><Relationship Id="rId6" Type="http://schemas.openxmlformats.org/officeDocument/2006/relationships/hyperlink" Target="https://digital.nhs.uk/data-and-information/statistical-publications-open-data-and-data-products" TargetMode="External"/><Relationship Id="rId11" Type="http://schemas.openxmlformats.org/officeDocument/2006/relationships/slide" Target="slide13.xml"/><Relationship Id="rId5" Type="http://schemas.openxmlformats.org/officeDocument/2006/relationships/hyperlink" Target="https://www.england.nhs.uk/statistics/statistical-work-areas/" TargetMode="External"/><Relationship Id="rId10" Type="http://schemas.openxmlformats.org/officeDocument/2006/relationships/hyperlink" Target="https://www.kingsfund.org.uk/sites/default/files/field/field_document/Outcomes-choosing-and-using-indicators-the-king's-fund-aug-20121.pdf" TargetMode="External"/><Relationship Id="rId4" Type="http://schemas.openxmlformats.org/officeDocument/2006/relationships/hyperlink" Target="https://www.nomisweb.co.uk/" TargetMode="External"/><Relationship Id="rId9" Type="http://schemas.openxmlformats.org/officeDocument/2006/relationships/hyperlink" Target="https://www.nuffieldtrust.org.uk/resource/trusted-measures-analytical-resources-for-integrated-care" TargetMode="External"/></Relationships>
</file>

<file path=ppt/slides/_rels/slide8.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slide" Target="slide32.xml"/><Relationship Id="rId1" Type="http://schemas.openxmlformats.org/officeDocument/2006/relationships/slideLayout" Target="../slideLayouts/slideLayout289.xml"/></Relationships>
</file>

<file path=ppt/slides/_rels/slide9.xml.rels><?xml version="1.0" encoding="UTF-8" standalone="yes"?>
<Relationships xmlns="http://schemas.openxmlformats.org/package/2006/relationships"><Relationship Id="rId3" Type="http://schemas.openxmlformats.org/officeDocument/2006/relationships/hyperlink" Target="https://nhsevaluationtoolkit.net/tutorials-and-training/guide-to-questionnaires-for-service-evaluation/" TargetMode="External"/><Relationship Id="rId2" Type="http://schemas.openxmlformats.org/officeDocument/2006/relationships/hyperlink" Target="https://www.england.nhs.uk/wp-content/uploads/2018/01/bitesize-guide-writing-an-effective-questionnaire.pdf" TargetMode="External"/><Relationship Id="rId1" Type="http://schemas.openxmlformats.org/officeDocument/2006/relationships/slideLayout" Target="../slideLayouts/slideLayout289.xml"/><Relationship Id="rId6" Type="http://schemas.openxmlformats.org/officeDocument/2006/relationships/slide" Target="slide13.xml"/><Relationship Id="rId5" Type="http://schemas.openxmlformats.org/officeDocument/2006/relationships/slide" Target="slide18.xml"/><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651C8-53FA-2AD7-3D13-B9737723E284}"/>
              </a:ext>
            </a:extLst>
          </p:cNvPr>
          <p:cNvSpPr>
            <a:spLocks noGrp="1"/>
          </p:cNvSpPr>
          <p:nvPr>
            <p:ph type="title"/>
          </p:nvPr>
        </p:nvSpPr>
        <p:spPr>
          <a:xfrm>
            <a:off x="463462" y="3073535"/>
            <a:ext cx="4709160" cy="1246495"/>
          </a:xfrm>
        </p:spPr>
        <p:txBody>
          <a:bodyPr/>
          <a:lstStyle/>
          <a:p>
            <a:r>
              <a:rPr lang="en-US"/>
              <a:t>Quantitative Study Methods</a:t>
            </a:r>
          </a:p>
        </p:txBody>
      </p:sp>
      <p:sp>
        <p:nvSpPr>
          <p:cNvPr id="3" name="Text Placeholder 2">
            <a:extLst>
              <a:ext uri="{FF2B5EF4-FFF2-40B4-BE49-F238E27FC236}">
                <a16:creationId xmlns:a16="http://schemas.microsoft.com/office/drawing/2014/main" id="{0106E4EF-C567-1943-86F7-D087EC5FB72C}"/>
              </a:ext>
            </a:extLst>
          </p:cNvPr>
          <p:cNvSpPr>
            <a:spLocks noGrp="1"/>
          </p:cNvSpPr>
          <p:nvPr>
            <p:ph type="body" sz="quarter" idx="10"/>
          </p:nvPr>
        </p:nvSpPr>
        <p:spPr/>
        <p:txBody>
          <a:bodyPr/>
          <a:lstStyle/>
          <a:p>
            <a:r>
              <a:rPr lang="en-US"/>
              <a:t>Evaluation Framework Workshop 5</a:t>
            </a:r>
          </a:p>
          <a:p>
            <a:endParaRPr lang="en-US"/>
          </a:p>
        </p:txBody>
      </p:sp>
      <p:sp>
        <p:nvSpPr>
          <p:cNvPr id="4" name="Text Placeholder 3">
            <a:extLst>
              <a:ext uri="{FF2B5EF4-FFF2-40B4-BE49-F238E27FC236}">
                <a16:creationId xmlns:a16="http://schemas.microsoft.com/office/drawing/2014/main" id="{EF18EBF3-6012-62B0-42CE-74FCC0A9C654}"/>
              </a:ext>
            </a:extLst>
          </p:cNvPr>
          <p:cNvSpPr>
            <a:spLocks noGrp="1"/>
          </p:cNvSpPr>
          <p:nvPr>
            <p:ph type="body" sz="quarter" idx="11"/>
          </p:nvPr>
        </p:nvSpPr>
        <p:spPr/>
        <p:txBody>
          <a:bodyPr/>
          <a:lstStyle/>
          <a:p>
            <a:r>
              <a:rPr lang="en-US"/>
              <a:t>9</a:t>
            </a:r>
            <a:r>
              <a:rPr lang="en-US" baseline="30000"/>
              <a:t>th</a:t>
            </a:r>
            <a:r>
              <a:rPr lang="en-US"/>
              <a:t> January 2024</a:t>
            </a:r>
          </a:p>
        </p:txBody>
      </p:sp>
    </p:spTree>
    <p:extLst>
      <p:ext uri="{BB962C8B-B14F-4D97-AF65-F5344CB8AC3E}">
        <p14:creationId xmlns:p14="http://schemas.microsoft.com/office/powerpoint/2010/main" val="1578626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8B2F3-304B-30EF-69F8-E9C55F49BE6A}"/>
              </a:ext>
            </a:extLst>
          </p:cNvPr>
          <p:cNvSpPr>
            <a:spLocks noGrp="1"/>
          </p:cNvSpPr>
          <p:nvPr>
            <p:ph type="title" hasCustomPrompt="1"/>
          </p:nvPr>
        </p:nvSpPr>
        <p:spPr bwMode="gray">
          <a:xfrm>
            <a:off x="457198" y="826727"/>
            <a:ext cx="11457298" cy="306037"/>
          </a:xfrm>
        </p:spPr>
        <p:txBody>
          <a:bodyPr/>
          <a:lstStyle>
            <a:lvl1pPr>
              <a:defRPr/>
            </a:lvl1pPr>
          </a:lstStyle>
          <a:p>
            <a:r>
              <a:rPr lang="en-US"/>
              <a:t>Using surveys to collect quantitative data</a:t>
            </a:r>
          </a:p>
        </p:txBody>
      </p:sp>
      <p:sp>
        <p:nvSpPr>
          <p:cNvPr id="3" name="TextBox 2">
            <a:extLst>
              <a:ext uri="{FF2B5EF4-FFF2-40B4-BE49-F238E27FC236}">
                <a16:creationId xmlns:a16="http://schemas.microsoft.com/office/drawing/2014/main" id="{7E28185A-6EA9-E55D-8EB9-BE6F92378E3C}"/>
              </a:ext>
            </a:extLst>
          </p:cNvPr>
          <p:cNvSpPr txBox="1"/>
          <p:nvPr/>
        </p:nvSpPr>
        <p:spPr bwMode="gray">
          <a:xfrm>
            <a:off x="457198" y="1456576"/>
            <a:ext cx="8874371" cy="3539430"/>
          </a:xfrm>
          <a:prstGeom prst="rect">
            <a:avLst/>
          </a:prstGeom>
          <a:noFill/>
        </p:spPr>
        <p:txBody>
          <a:bodyPr vert="horz" wrap="square" lIns="0" tIns="0" rIns="0" bIns="0" rtlCol="0">
            <a:sp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Aligning process/output and outcome measures to question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For example, through a logic model process, a long-term outcome of an intervention is identified — </a:t>
            </a:r>
            <a:b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b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Improvement in patients’ overall wellbeing scores”. If there is no existing data to measure, monitor and evaluate according to patient wellbeing, then there is the option of collecting data quantitatively via survey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ere are many available wellbeing scales; one of the more simply and widely used is the ONS4: </a:t>
            </a:r>
            <a:b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b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2"/>
              </a:rPr>
              <a:t>Personal Well-being ONS4 measures - Evaluating wellbeing (whatworkswellbeing.org)</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 as seen below:</a:t>
            </a:r>
          </a:p>
          <a:p>
            <a:pPr marL="742950" marR="0" lvl="1" indent="-285750" algn="l" defTabSz="914400"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For each of these questions I’d like you to give an answer on a scale of 0 to 10, where 0 is “not at all” </a:t>
            </a:r>
            <a:b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b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and 10 is “completely”</a:t>
            </a:r>
            <a:endParaRPr kumimoji="0" lang="en-GB"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1257300" marR="0" lvl="2"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Overall, how satisfied are you with your life nowadays?</a:t>
            </a:r>
          </a:p>
          <a:p>
            <a:pPr marL="1257300" marR="0" lvl="2"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Overall, to what extent do you feel that the things you do in your life are worthwhile?</a:t>
            </a:r>
          </a:p>
          <a:p>
            <a:pPr marL="1257300" marR="0" lvl="2"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Overall, how happy did you feel yesterday?</a:t>
            </a:r>
          </a:p>
          <a:p>
            <a:pPr marL="1257300" marR="0" lvl="2"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On a scale where 0 is “not at all anxious” and 10 is “completely anxious”, overall, how anxious did you feel yesterday?</a:t>
            </a:r>
          </a:p>
          <a:p>
            <a:pPr marL="1257300" marR="0" lvl="2" indent="-342900" algn="l" defTabSz="914400" rtl="0" eaLnBrk="1" fontAlgn="auto" latinLnBrk="0" hangingPunct="1">
              <a:lnSpc>
                <a:spcPct val="100000"/>
              </a:lnSpc>
              <a:spcBef>
                <a:spcPts val="600"/>
              </a:spcBef>
              <a:spcAft>
                <a:spcPts val="0"/>
              </a:spcAft>
              <a:buClrTx/>
              <a:buSzTx/>
              <a:buFont typeface="+mj-lt"/>
              <a:buAutoNum type="arabicPeriod"/>
              <a:tabLst/>
              <a:defRPr/>
            </a:pP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1" i="1" u="none" strike="noStrike" kern="1200" cap="none" spc="0" normalizeH="0" baseline="0" noProof="0">
                <a:ln>
                  <a:noFill/>
                </a:ln>
                <a:solidFill>
                  <a:srgbClr val="4B4D4F"/>
                </a:solidFill>
                <a:effectLst/>
                <a:uLnTx/>
                <a:uFillTx/>
                <a:latin typeface="Arial" panose="020B0604020202020204"/>
                <a:ea typeface="+mn-ea"/>
                <a:cs typeface="+mn-cs"/>
              </a:rPr>
              <a:t>Other wellbeing measure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What Works Centre for Wellbeing -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3"/>
              </a:rPr>
              <a:t>Wellbeing Measures Bank - Evaluating wellbeing (whatworkswellbeing.org)</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 </a:t>
            </a:r>
          </a:p>
        </p:txBody>
      </p:sp>
      <p:sp>
        <p:nvSpPr>
          <p:cNvPr id="4" name="Rectangle 3">
            <a:hlinkClick r:id="rId4" action="ppaction://hlinksldjump"/>
            <a:extLst>
              <a:ext uri="{FF2B5EF4-FFF2-40B4-BE49-F238E27FC236}">
                <a16:creationId xmlns:a16="http://schemas.microsoft.com/office/drawing/2014/main" id="{61C3A53D-131F-FA40-C7C5-33252480EB25}"/>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hlinkClick r:id="rId5" action="ppaction://hlinksldjump"/>
            <a:extLst>
              <a:ext uri="{FF2B5EF4-FFF2-40B4-BE49-F238E27FC236}">
                <a16:creationId xmlns:a16="http://schemas.microsoft.com/office/drawing/2014/main" id="{88DBC169-A19A-D16F-6460-CB46EE339ED5}"/>
              </a:ext>
            </a:extLst>
          </p:cNvPr>
          <p:cNvSpPr/>
          <p:nvPr/>
        </p:nvSpPr>
        <p:spPr bwMode="gray">
          <a:xfrm>
            <a:off x="11245705"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549403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CF815-A683-8B2B-9414-50D73498589E}"/>
              </a:ext>
            </a:extLst>
          </p:cNvPr>
          <p:cNvSpPr>
            <a:spLocks noGrp="1"/>
          </p:cNvSpPr>
          <p:nvPr>
            <p:ph type="title"/>
          </p:nvPr>
        </p:nvSpPr>
        <p:spPr/>
        <p:txBody>
          <a:bodyPr/>
          <a:lstStyle/>
          <a:p>
            <a:r>
              <a:rPr lang="en-GB"/>
              <a:t>ONS4 Wellbeing Survey results for England 2016</a:t>
            </a:r>
            <a:endParaRPr lang="en-US"/>
          </a:p>
        </p:txBody>
      </p:sp>
      <p:pic>
        <p:nvPicPr>
          <p:cNvPr id="1026" name="Picture 2" descr="Figure 1: Average personal well-being ratings: by age, 2012 to 2015">
            <a:extLst>
              <a:ext uri="{FF2B5EF4-FFF2-40B4-BE49-F238E27FC236}">
                <a16:creationId xmlns:a16="http://schemas.microsoft.com/office/drawing/2014/main" id="{B667C6C0-66D5-1E3D-EB0F-168067D81D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0931" y="1328139"/>
            <a:ext cx="8637095" cy="5068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89837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2F6C0C0-50CD-8305-99A9-CC61829B0422}"/>
              </a:ext>
            </a:extLst>
          </p:cNvPr>
          <p:cNvSpPr>
            <a:spLocks noGrp="1"/>
          </p:cNvSpPr>
          <p:nvPr>
            <p:ph type="body" idx="1"/>
          </p:nvPr>
        </p:nvSpPr>
        <p:spPr/>
        <p:txBody>
          <a:bodyPr/>
          <a:lstStyle/>
          <a:p>
            <a:endParaRPr lang="en-US"/>
          </a:p>
        </p:txBody>
      </p:sp>
      <p:sp>
        <p:nvSpPr>
          <p:cNvPr id="3" name="Title 2">
            <a:extLst>
              <a:ext uri="{FF2B5EF4-FFF2-40B4-BE49-F238E27FC236}">
                <a16:creationId xmlns:a16="http://schemas.microsoft.com/office/drawing/2014/main" id="{1A5C6DAE-8C0D-2E02-35A9-D171DBFE1585}"/>
              </a:ext>
            </a:extLst>
          </p:cNvPr>
          <p:cNvSpPr>
            <a:spLocks noGrp="1"/>
          </p:cNvSpPr>
          <p:nvPr>
            <p:ph type="title"/>
          </p:nvPr>
        </p:nvSpPr>
        <p:spPr>
          <a:xfrm>
            <a:off x="1752600" y="2451107"/>
            <a:ext cx="8686800" cy="1523494"/>
          </a:xfrm>
        </p:spPr>
        <p:txBody>
          <a:bodyPr/>
          <a:lstStyle/>
          <a:p>
            <a:r>
              <a:rPr lang="en-US"/>
              <a:t>Designing your quantitative evaluation</a:t>
            </a:r>
          </a:p>
        </p:txBody>
      </p:sp>
    </p:spTree>
    <p:extLst>
      <p:ext uri="{BB962C8B-B14F-4D97-AF65-F5344CB8AC3E}">
        <p14:creationId xmlns:p14="http://schemas.microsoft.com/office/powerpoint/2010/main" val="13312941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18D1-C7C9-47CE-B51F-F20D1A62A6E5}"/>
              </a:ext>
            </a:extLst>
          </p:cNvPr>
          <p:cNvSpPr>
            <a:spLocks noGrp="1"/>
          </p:cNvSpPr>
          <p:nvPr>
            <p:ph type="title"/>
          </p:nvPr>
        </p:nvSpPr>
        <p:spPr/>
        <p:txBody>
          <a:bodyPr/>
          <a:lstStyle/>
          <a:p>
            <a:r>
              <a:rPr lang="en-GB"/>
              <a:t>Study design approaches</a:t>
            </a:r>
          </a:p>
        </p:txBody>
      </p:sp>
      <p:graphicFrame>
        <p:nvGraphicFramePr>
          <p:cNvPr id="7" name="Diagram 6">
            <a:extLst>
              <a:ext uri="{FF2B5EF4-FFF2-40B4-BE49-F238E27FC236}">
                <a16:creationId xmlns:a16="http://schemas.microsoft.com/office/drawing/2014/main" id="{F4FD41F1-F0F0-489E-9C79-8145F2447403}"/>
              </a:ext>
            </a:extLst>
          </p:cNvPr>
          <p:cNvGraphicFramePr/>
          <p:nvPr/>
        </p:nvGraphicFramePr>
        <p:xfrm>
          <a:off x="1492342" y="784455"/>
          <a:ext cx="8703734" cy="59097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947614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3">
            <a:extLst>
              <a:ext uri="{FF2B5EF4-FFF2-40B4-BE49-F238E27FC236}">
                <a16:creationId xmlns:a16="http://schemas.microsoft.com/office/drawing/2014/main" id="{C36F7E50-8467-A680-C2CD-A73EDDA1EC3D}"/>
              </a:ext>
            </a:extLst>
          </p:cNvPr>
          <p:cNvSpPr/>
          <p:nvPr/>
        </p:nvSpPr>
        <p:spPr bwMode="gray">
          <a:xfrm>
            <a:off x="254326" y="990902"/>
            <a:ext cx="1865448" cy="1569660"/>
          </a:xfrm>
          <a:prstGeom prst="flowChartProcess">
            <a:avLst/>
          </a:prstGeom>
          <a:solidFill>
            <a:schemeClr val="bg2"/>
          </a:solidFill>
          <a:ln cap="rnd">
            <a:solidFill>
              <a:schemeClr val="bg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Pre-experimental design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before, during and after evaluation focusing only on an intervention group)</a:t>
            </a:r>
          </a:p>
        </p:txBody>
      </p:sp>
      <p:grpSp>
        <p:nvGrpSpPr>
          <p:cNvPr id="3" name="Group 2">
            <a:extLst>
              <a:ext uri="{FF2B5EF4-FFF2-40B4-BE49-F238E27FC236}">
                <a16:creationId xmlns:a16="http://schemas.microsoft.com/office/drawing/2014/main" id="{3FF972F3-26B7-E4AB-CC68-8DACF85095EB}"/>
              </a:ext>
            </a:extLst>
          </p:cNvPr>
          <p:cNvGrpSpPr/>
          <p:nvPr/>
        </p:nvGrpSpPr>
        <p:grpSpPr>
          <a:xfrm>
            <a:off x="1410398" y="2227665"/>
            <a:ext cx="554673" cy="162038"/>
            <a:chOff x="574585" y="5685302"/>
            <a:chExt cx="554673" cy="162038"/>
          </a:xfrm>
        </p:grpSpPr>
        <p:sp>
          <p:nvSpPr>
            <p:cNvPr id="4" name="Freeform 3">
              <a:hlinkClick r:id="" action="ppaction://noaction"/>
              <a:extLst>
                <a:ext uri="{FF2B5EF4-FFF2-40B4-BE49-F238E27FC236}">
                  <a16:creationId xmlns:a16="http://schemas.microsoft.com/office/drawing/2014/main" id="{50590458-72A5-705E-FBAD-8FFB9C0A9DF4}"/>
                </a:ext>
              </a:extLst>
            </p:cNvPr>
            <p:cNvSpPr/>
            <p:nvPr/>
          </p:nvSpPr>
          <p:spPr bwMode="gray">
            <a:xfrm>
              <a:off x="574585" y="5685302"/>
              <a:ext cx="554673"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extBox 4">
              <a:hlinkClick r:id="" action="ppaction://noaction"/>
              <a:extLst>
                <a:ext uri="{FF2B5EF4-FFF2-40B4-BE49-F238E27FC236}">
                  <a16:creationId xmlns:a16="http://schemas.microsoft.com/office/drawing/2014/main" id="{070E5C9F-9431-4015-8229-E68362FD9EB1}"/>
                </a:ext>
              </a:extLst>
            </p:cNvPr>
            <p:cNvSpPr txBox="1"/>
            <p:nvPr/>
          </p:nvSpPr>
          <p:spPr bwMode="gray">
            <a:xfrm>
              <a:off x="606654" y="5694542"/>
              <a:ext cx="500290"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Glossary</a:t>
              </a:r>
            </a:p>
          </p:txBody>
        </p:sp>
      </p:grpSp>
      <p:sp>
        <p:nvSpPr>
          <p:cNvPr id="7" name="TextBox 6">
            <a:extLst>
              <a:ext uri="{FF2B5EF4-FFF2-40B4-BE49-F238E27FC236}">
                <a16:creationId xmlns:a16="http://schemas.microsoft.com/office/drawing/2014/main" id="{F3381298-2D67-0713-8777-417B75D5FCAB}"/>
              </a:ext>
            </a:extLst>
          </p:cNvPr>
          <p:cNvSpPr txBox="1"/>
          <p:nvPr/>
        </p:nvSpPr>
        <p:spPr bwMode="gray">
          <a:xfrm>
            <a:off x="2365041" y="996559"/>
            <a:ext cx="4081740" cy="1231106"/>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What is it?</a:t>
            </a:r>
            <a:endParaRPr kumimoji="0" lang="en-GB" sz="1400" b="0" i="0" u="none" strike="noStrike" kern="1200" cap="none" spc="0" normalizeH="0" baseline="0" noProof="0">
              <a:ln>
                <a:noFill/>
              </a:ln>
              <a:solidFill>
                <a:srgbClr val="00267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A prospective evaluation where data is collected and analysed before the intervention is implemented (baseline). Further data is collected during the intervention and to track outcomes once the intervention has ended.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There is no control group, and all measurement focuses on intervention participants.</a:t>
            </a:r>
          </a:p>
        </p:txBody>
      </p:sp>
      <p:sp>
        <p:nvSpPr>
          <p:cNvPr id="8" name="TextBox 7">
            <a:extLst>
              <a:ext uri="{FF2B5EF4-FFF2-40B4-BE49-F238E27FC236}">
                <a16:creationId xmlns:a16="http://schemas.microsoft.com/office/drawing/2014/main" id="{73651188-2DC1-F390-1BA4-543F21B80D53}"/>
              </a:ext>
            </a:extLst>
          </p:cNvPr>
          <p:cNvSpPr txBox="1"/>
          <p:nvPr/>
        </p:nvSpPr>
        <p:spPr bwMode="gray">
          <a:xfrm>
            <a:off x="6995231" y="990902"/>
            <a:ext cx="4081741" cy="1800493"/>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How do you do i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Agree your plan for data collection from intervention participants including baselining, tracking and follow up</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Begin collecting data before the intervention start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rack measures during and in follow up to the intervention</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Analyse changes in the measures (using paired t-tests or repeated measures analyses of variance, like one-way repeated measure ANOVA)</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grpSp>
        <p:nvGrpSpPr>
          <p:cNvPr id="9" name="Group 8">
            <a:extLst>
              <a:ext uri="{FF2B5EF4-FFF2-40B4-BE49-F238E27FC236}">
                <a16:creationId xmlns:a16="http://schemas.microsoft.com/office/drawing/2014/main" id="{24178CEC-66DA-4804-4235-4FEDFC867486}"/>
              </a:ext>
            </a:extLst>
          </p:cNvPr>
          <p:cNvGrpSpPr/>
          <p:nvPr/>
        </p:nvGrpSpPr>
        <p:grpSpPr>
          <a:xfrm>
            <a:off x="10704197" y="2629357"/>
            <a:ext cx="551515" cy="162038"/>
            <a:chOff x="577742" y="5905623"/>
            <a:chExt cx="551515" cy="162038"/>
          </a:xfrm>
        </p:grpSpPr>
        <p:sp>
          <p:nvSpPr>
            <p:cNvPr id="10" name="Freeform 9">
              <a:hlinkClick r:id="" action="ppaction://hlinkshowjump?jump=nextslide"/>
              <a:extLst>
                <a:ext uri="{FF2B5EF4-FFF2-40B4-BE49-F238E27FC236}">
                  <a16:creationId xmlns:a16="http://schemas.microsoft.com/office/drawing/2014/main" id="{446C26FA-FA9A-6D9F-3725-D358933D6AB5}"/>
                </a:ext>
              </a:extLst>
            </p:cNvPr>
            <p:cNvSpPr/>
            <p:nvPr userDrawn="1"/>
          </p:nvSpPr>
          <p:spPr bwMode="gray">
            <a:xfrm>
              <a:off x="577742" y="5905623"/>
              <a:ext cx="551515"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a:hlinkClick r:id="rId2" action="ppaction://hlinksldjump"/>
              <a:extLst>
                <a:ext uri="{FF2B5EF4-FFF2-40B4-BE49-F238E27FC236}">
                  <a16:creationId xmlns:a16="http://schemas.microsoft.com/office/drawing/2014/main" id="{68348336-76AB-46F9-7ADA-AA5E7DD78CE0}"/>
                </a:ext>
              </a:extLst>
            </p:cNvPr>
            <p:cNvSpPr txBox="1"/>
            <p:nvPr/>
          </p:nvSpPr>
          <p:spPr bwMode="gray">
            <a:xfrm>
              <a:off x="606654" y="5915216"/>
              <a:ext cx="500290"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Guide</a:t>
              </a:r>
            </a:p>
          </p:txBody>
        </p:sp>
      </p:grpSp>
      <p:sp>
        <p:nvSpPr>
          <p:cNvPr id="13" name="Rectangle 12">
            <a:extLst>
              <a:ext uri="{FF2B5EF4-FFF2-40B4-BE49-F238E27FC236}">
                <a16:creationId xmlns:a16="http://schemas.microsoft.com/office/drawing/2014/main" id="{897F2D01-9579-A782-155E-8AC70287E2D4}"/>
              </a:ext>
            </a:extLst>
          </p:cNvPr>
          <p:cNvSpPr/>
          <p:nvPr/>
        </p:nvSpPr>
        <p:spPr bwMode="gray">
          <a:xfrm>
            <a:off x="304179" y="3183039"/>
            <a:ext cx="1815595" cy="2523281"/>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52D4F6D8-1B8F-8F62-F70E-0427233F670D}"/>
              </a:ext>
            </a:extLst>
          </p:cNvPr>
          <p:cNvSpPr txBox="1"/>
          <p:nvPr/>
        </p:nvSpPr>
        <p:spPr bwMode="gray">
          <a:xfrm>
            <a:off x="411546" y="3324825"/>
            <a:ext cx="1435261" cy="2200602"/>
          </a:xfrm>
          <a:prstGeom prst="rect">
            <a:avLst/>
          </a:prstGeom>
          <a:solidFill>
            <a:schemeClr val="bg2"/>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A practical exampl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Tracking wellbeing scores three times for a wellbeing coach intervention; once before intervention, once at the intervention midpoint and once three months after the intervention has finished.</a:t>
            </a:r>
            <a:endParaRPr kumimoji="0" lang="en-US" sz="1100" b="0" i="0" u="none" strike="noStrike" kern="1200" cap="none" spc="0" normalizeH="0" baseline="0" noProof="0">
              <a:ln>
                <a:noFill/>
              </a:ln>
              <a:solidFill>
                <a:srgbClr val="002677"/>
              </a:solidFill>
              <a:effectLst/>
              <a:uLnTx/>
              <a:uFillTx/>
              <a:latin typeface="Arial" panose="020B0604020202020204"/>
              <a:ea typeface="+mn-ea"/>
              <a:cs typeface="+mn-cs"/>
            </a:endParaRPr>
          </a:p>
        </p:txBody>
      </p:sp>
      <p:graphicFrame>
        <p:nvGraphicFramePr>
          <p:cNvPr id="14" name="Table 12">
            <a:extLst>
              <a:ext uri="{FF2B5EF4-FFF2-40B4-BE49-F238E27FC236}">
                <a16:creationId xmlns:a16="http://schemas.microsoft.com/office/drawing/2014/main" id="{E8367382-7EDC-6BAD-2461-405220731B4C}"/>
              </a:ext>
            </a:extLst>
          </p:cNvPr>
          <p:cNvGraphicFramePr>
            <a:graphicFrameLocks noGrp="1"/>
          </p:cNvGraphicFramePr>
          <p:nvPr/>
        </p:nvGraphicFramePr>
        <p:xfrm>
          <a:off x="2365040" y="3183039"/>
          <a:ext cx="9186493" cy="2523281"/>
        </p:xfrm>
        <a:graphic>
          <a:graphicData uri="http://schemas.openxmlformats.org/drawingml/2006/table">
            <a:tbl>
              <a:tblPr firstRow="1" bandRow="1">
                <a:tableStyleId>{5940675A-B579-460E-94D1-54222C63F5DA}</a:tableStyleId>
              </a:tblPr>
              <a:tblGrid>
                <a:gridCol w="4596398">
                  <a:extLst>
                    <a:ext uri="{9D8B030D-6E8A-4147-A177-3AD203B41FA5}">
                      <a16:colId xmlns:a16="http://schemas.microsoft.com/office/drawing/2014/main" val="2815822586"/>
                    </a:ext>
                  </a:extLst>
                </a:gridCol>
                <a:gridCol w="4590095">
                  <a:extLst>
                    <a:ext uri="{9D8B030D-6E8A-4147-A177-3AD203B41FA5}">
                      <a16:colId xmlns:a16="http://schemas.microsoft.com/office/drawing/2014/main" val="3081556938"/>
                    </a:ext>
                  </a:extLst>
                </a:gridCol>
              </a:tblGrid>
              <a:tr h="316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bg1"/>
                          </a:solidFill>
                        </a:rPr>
                        <a:t>Advantages</a:t>
                      </a:r>
                    </a:p>
                  </a:txBody>
                  <a:tcPr>
                    <a:lnB w="12700" cmpd="sng">
                      <a:noFill/>
                    </a:lnB>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bg1"/>
                          </a:solidFill>
                        </a:rPr>
                        <a:t>Disadvantages</a:t>
                      </a:r>
                    </a:p>
                  </a:txBody>
                  <a:tcPr>
                    <a:lnB w="12700" cmpd="sng">
                      <a:noFill/>
                    </a:lnB>
                    <a:solidFill>
                      <a:schemeClr val="accent6"/>
                    </a:solidFill>
                  </a:tcPr>
                </a:tc>
                <a:extLst>
                  <a:ext uri="{0D108BD9-81ED-4DB2-BD59-A6C34878D82A}">
                    <a16:rowId xmlns:a16="http://schemas.microsoft.com/office/drawing/2014/main" val="3558527275"/>
                  </a:ext>
                </a:extLst>
              </a:tr>
              <a:tr h="2207085">
                <a:tc>
                  <a:txBody>
                    <a:bodyPr/>
                    <a:lstStyle/>
                    <a:p>
                      <a:pPr marL="285750" indent="-285750">
                        <a:spcAft>
                          <a:spcPts val="600"/>
                        </a:spcAft>
                        <a:buFont typeface="Arial" panose="020B0604020202020204" pitchFamily="34" charset="0"/>
                        <a:buChar char="•"/>
                      </a:pPr>
                      <a:r>
                        <a:rPr lang="en-US" sz="1100"/>
                        <a:t>It is a relatively straightforward design</a:t>
                      </a:r>
                    </a:p>
                    <a:p>
                      <a:pPr marL="285750" indent="-285750">
                        <a:spcAft>
                          <a:spcPts val="600"/>
                        </a:spcAft>
                        <a:buFont typeface="Arial" panose="020B0604020202020204" pitchFamily="34" charset="0"/>
                        <a:buChar char="•"/>
                      </a:pPr>
                      <a:r>
                        <a:rPr lang="en-US" sz="1100"/>
                        <a:t>You only need to track the outcomes of one group – the intervention group </a:t>
                      </a:r>
                    </a:p>
                    <a:p>
                      <a:pPr marL="285750" indent="-285750">
                        <a:spcAft>
                          <a:spcPts val="600"/>
                        </a:spcAft>
                        <a:buFont typeface="Arial" panose="020B0604020202020204" pitchFamily="34" charset="0"/>
                        <a:buChar char="•"/>
                      </a:pPr>
                      <a:r>
                        <a:rPr lang="en-US" sz="1100"/>
                        <a:t>There are no ethical concerns with denying access to care for a control group</a:t>
                      </a:r>
                    </a:p>
                  </a:txBody>
                  <a:tcPr>
                    <a:lnL w="12700" cmpd="sng">
                      <a:noFill/>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CF9F4"/>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a:t>The lack of a comparison/control group means this design lacks internal validity and attributing outcomes to the intervention is difficult</a:t>
                      </a:r>
                    </a:p>
                    <a:p>
                      <a:pPr marL="285750" indent="-285750">
                        <a:spcAft>
                          <a:spcPts val="600"/>
                        </a:spcAft>
                        <a:buFont typeface="Arial" panose="020B0604020202020204" pitchFamily="34" charset="0"/>
                        <a:buChar char="•"/>
                      </a:pPr>
                      <a:r>
                        <a:rPr lang="en-US" sz="1100"/>
                        <a:t>It is difficult to control for regression to the mean </a:t>
                      </a:r>
                    </a:p>
                    <a:p>
                      <a:pPr marL="285750" indent="-285750">
                        <a:spcAft>
                          <a:spcPts val="600"/>
                        </a:spcAft>
                        <a:buFont typeface="Arial" panose="020B0604020202020204" pitchFamily="34" charset="0"/>
                        <a:buChar char="•"/>
                      </a:pPr>
                      <a:r>
                        <a:rPr lang="en-US" sz="1100"/>
                        <a:t>It assumes the experience of the intervention is the same for each participant and does not account for any changes to the intervention </a:t>
                      </a:r>
                    </a:p>
                  </a:txBody>
                  <a:tcP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CF9F4"/>
                    </a:solidFill>
                  </a:tcPr>
                </a:tc>
                <a:extLst>
                  <a:ext uri="{0D108BD9-81ED-4DB2-BD59-A6C34878D82A}">
                    <a16:rowId xmlns:a16="http://schemas.microsoft.com/office/drawing/2014/main" val="340835997"/>
                  </a:ext>
                </a:extLst>
              </a:tr>
            </a:tbl>
          </a:graphicData>
        </a:graphic>
      </p:graphicFrame>
      <p:sp>
        <p:nvSpPr>
          <p:cNvPr id="15" name="TextBox 14">
            <a:extLst>
              <a:ext uri="{FF2B5EF4-FFF2-40B4-BE49-F238E27FC236}">
                <a16:creationId xmlns:a16="http://schemas.microsoft.com/office/drawing/2014/main" id="{9F273B45-248B-2772-BADF-C0763021BCFB}"/>
              </a:ext>
            </a:extLst>
          </p:cNvPr>
          <p:cNvSpPr txBox="1"/>
          <p:nvPr/>
        </p:nvSpPr>
        <p:spPr bwMode="gray">
          <a:xfrm>
            <a:off x="4648346" y="5740912"/>
            <a:ext cx="6903187"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B4D4F"/>
                </a:solidFill>
                <a:effectLst/>
                <a:uLnTx/>
                <a:uFillTx/>
                <a:latin typeface="Arial" panose="020B0604020202020204"/>
                <a:ea typeface="+mn-ea"/>
                <a:cs typeface="+mn-cs"/>
                <a:hlinkClick r:id="rId3"/>
              </a:rPr>
              <a:t>Paired Samples T-test in R - Easy Guides - Wiki – STHDA</a:t>
            </a:r>
            <a:endParaRPr kumimoji="0" lang="en-US" sz="8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B4D4F"/>
                </a:solidFill>
                <a:effectLst/>
                <a:uLnTx/>
                <a:uFillTx/>
                <a:latin typeface="Arial" panose="020B0604020202020204"/>
                <a:ea typeface="+mn-ea"/>
                <a:cs typeface="+mn-cs"/>
                <a:hlinkClick r:id="rId4"/>
              </a:rPr>
              <a:t>11: Introduction to Repeated Measures - Statistics </a:t>
            </a:r>
            <a:r>
              <a:rPr kumimoji="0" lang="en-US" sz="800" b="0" i="0" u="none" strike="noStrike" kern="1200" cap="none" spc="0" normalizeH="0" baseline="0" noProof="0" err="1">
                <a:ln>
                  <a:noFill/>
                </a:ln>
                <a:solidFill>
                  <a:srgbClr val="4B4D4F"/>
                </a:solidFill>
                <a:effectLst/>
                <a:uLnTx/>
                <a:uFillTx/>
                <a:latin typeface="Arial" panose="020B0604020202020204"/>
                <a:ea typeface="+mn-ea"/>
                <a:cs typeface="+mn-cs"/>
                <a:hlinkClick r:id="rId4"/>
              </a:rPr>
              <a:t>LibreTexts</a:t>
            </a:r>
            <a:endParaRPr kumimoji="0" lang="en-US" sz="8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6" name="Rectangle 5">
            <a:hlinkClick r:id="rId5" action="ppaction://hlinksldjump"/>
            <a:extLst>
              <a:ext uri="{FF2B5EF4-FFF2-40B4-BE49-F238E27FC236}">
                <a16:creationId xmlns:a16="http://schemas.microsoft.com/office/drawing/2014/main" id="{9D9A5970-5E21-7379-3733-629005C2561B}"/>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ctangle 15">
            <a:hlinkClick r:id="rId6" action="ppaction://hlinksldjump"/>
            <a:extLst>
              <a:ext uri="{FF2B5EF4-FFF2-40B4-BE49-F238E27FC236}">
                <a16:creationId xmlns:a16="http://schemas.microsoft.com/office/drawing/2014/main" id="{2363AD83-0B4E-9DE1-0988-A2FF74DBF64C}"/>
              </a:ext>
            </a:extLst>
          </p:cNvPr>
          <p:cNvSpPr/>
          <p:nvPr/>
        </p:nvSpPr>
        <p:spPr bwMode="gray">
          <a:xfrm>
            <a:off x="11255712"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154260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3">
            <a:extLst>
              <a:ext uri="{FF2B5EF4-FFF2-40B4-BE49-F238E27FC236}">
                <a16:creationId xmlns:a16="http://schemas.microsoft.com/office/drawing/2014/main" id="{29E214C5-C5D7-3E86-0980-0ED272805484}"/>
              </a:ext>
            </a:extLst>
          </p:cNvPr>
          <p:cNvSpPr/>
          <p:nvPr/>
        </p:nvSpPr>
        <p:spPr bwMode="gray">
          <a:xfrm>
            <a:off x="254326" y="990902"/>
            <a:ext cx="1865448" cy="1569660"/>
          </a:xfrm>
          <a:prstGeom prst="flowChartProcess">
            <a:avLst/>
          </a:prstGeom>
          <a:solidFill>
            <a:schemeClr val="bg2"/>
          </a:solidFill>
          <a:ln cap="rnd">
            <a:solidFill>
              <a:schemeClr val="bg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Retrospective evaluation without a comparison group</a:t>
            </a:r>
          </a:p>
        </p:txBody>
      </p:sp>
      <p:grpSp>
        <p:nvGrpSpPr>
          <p:cNvPr id="3" name="Group 2">
            <a:extLst>
              <a:ext uri="{FF2B5EF4-FFF2-40B4-BE49-F238E27FC236}">
                <a16:creationId xmlns:a16="http://schemas.microsoft.com/office/drawing/2014/main" id="{37BD2033-B766-D8EF-F415-0F785349D589}"/>
              </a:ext>
            </a:extLst>
          </p:cNvPr>
          <p:cNvGrpSpPr/>
          <p:nvPr/>
        </p:nvGrpSpPr>
        <p:grpSpPr>
          <a:xfrm>
            <a:off x="1410398" y="2234904"/>
            <a:ext cx="554673" cy="162038"/>
            <a:chOff x="574585" y="5685302"/>
            <a:chExt cx="554673" cy="162038"/>
          </a:xfrm>
        </p:grpSpPr>
        <p:sp>
          <p:nvSpPr>
            <p:cNvPr id="4" name="Freeform 3">
              <a:hlinkClick r:id="" action="ppaction://noaction"/>
              <a:extLst>
                <a:ext uri="{FF2B5EF4-FFF2-40B4-BE49-F238E27FC236}">
                  <a16:creationId xmlns:a16="http://schemas.microsoft.com/office/drawing/2014/main" id="{2CC63E20-8A14-1AD5-E292-30DA442489E0}"/>
                </a:ext>
              </a:extLst>
            </p:cNvPr>
            <p:cNvSpPr/>
            <p:nvPr/>
          </p:nvSpPr>
          <p:spPr bwMode="gray">
            <a:xfrm>
              <a:off x="574585" y="5685302"/>
              <a:ext cx="554673"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extBox 4">
              <a:hlinkClick r:id="" action="ppaction://noaction"/>
              <a:extLst>
                <a:ext uri="{FF2B5EF4-FFF2-40B4-BE49-F238E27FC236}">
                  <a16:creationId xmlns:a16="http://schemas.microsoft.com/office/drawing/2014/main" id="{953FCD3B-A9E4-BA24-FEEA-62B27B694153}"/>
                </a:ext>
              </a:extLst>
            </p:cNvPr>
            <p:cNvSpPr txBox="1"/>
            <p:nvPr/>
          </p:nvSpPr>
          <p:spPr bwMode="gray">
            <a:xfrm>
              <a:off x="606654" y="5694542"/>
              <a:ext cx="500290"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Glossary</a:t>
              </a:r>
            </a:p>
          </p:txBody>
        </p:sp>
      </p:grpSp>
      <p:sp>
        <p:nvSpPr>
          <p:cNvPr id="6" name="TextBox 5">
            <a:extLst>
              <a:ext uri="{FF2B5EF4-FFF2-40B4-BE49-F238E27FC236}">
                <a16:creationId xmlns:a16="http://schemas.microsoft.com/office/drawing/2014/main" id="{858591A2-3BF6-1DD4-8D92-4EAEA3342352}"/>
              </a:ext>
            </a:extLst>
          </p:cNvPr>
          <p:cNvSpPr txBox="1"/>
          <p:nvPr/>
        </p:nvSpPr>
        <p:spPr bwMode="gray">
          <a:xfrm>
            <a:off x="2365041" y="996559"/>
            <a:ext cx="4325126" cy="1231106"/>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What is it?</a:t>
            </a:r>
            <a:endParaRPr kumimoji="0" lang="en-GB" sz="1400" b="0" i="0" u="none" strike="noStrike" kern="1200" cap="none" spc="0" normalizeH="0" baseline="0" noProof="0">
              <a:ln>
                <a:noFill/>
              </a:ln>
              <a:solidFill>
                <a:srgbClr val="00267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A backwards look at whether the intended outcomes of the intervention were achieved. This requires knowledge of the intended outcomes and the ability to identify the intervention group. It also requires the use of secondary data (data that has already been collected about the participants) to determine impacts.</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9E73924-8522-81EA-89AB-648A0EE312A7}"/>
              </a:ext>
            </a:extLst>
          </p:cNvPr>
          <p:cNvSpPr txBox="1"/>
          <p:nvPr/>
        </p:nvSpPr>
        <p:spPr bwMode="gray">
          <a:xfrm>
            <a:off x="6995231" y="990902"/>
            <a:ext cx="4428982" cy="1800493"/>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How do you do i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Identify all your intervention participants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Find the secondary data you can use for measures that align to the outcomes you’re interested in to show change over tim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Your secondary data source needs to enable you to observe those measures for your participants pre and post intervention</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Collect data in retrospect, asking intervention participants to recall information</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86904722-ACDB-BC6F-1FA0-590D9759377D}"/>
              </a:ext>
            </a:extLst>
          </p:cNvPr>
          <p:cNvSpPr/>
          <p:nvPr/>
        </p:nvSpPr>
        <p:spPr bwMode="gray">
          <a:xfrm>
            <a:off x="304179" y="3183039"/>
            <a:ext cx="1815595" cy="2523281"/>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FE8D1C87-A069-B3CF-58A4-3C4536D41438}"/>
              </a:ext>
            </a:extLst>
          </p:cNvPr>
          <p:cNvSpPr txBox="1"/>
          <p:nvPr/>
        </p:nvSpPr>
        <p:spPr bwMode="gray">
          <a:xfrm>
            <a:off x="411546" y="3324825"/>
            <a:ext cx="1531211" cy="2031325"/>
          </a:xfrm>
          <a:prstGeom prst="rect">
            <a:avLst/>
          </a:prstGeom>
          <a:solidFill>
            <a:schemeClr val="bg2"/>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A practical exampl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A falls prevention program has already begun and the metrics of interest are data points that can be found in existing secondary data sources such as GP records and hospital data.</a:t>
            </a:r>
            <a:endParaRPr kumimoji="0" lang="en-US" sz="1100" b="0" i="0" u="none" strike="noStrike" kern="1200" cap="none" spc="0" normalizeH="0" baseline="0" noProof="0">
              <a:ln>
                <a:noFill/>
              </a:ln>
              <a:solidFill>
                <a:srgbClr val="002677"/>
              </a:solidFill>
              <a:effectLst/>
              <a:uLnTx/>
              <a:uFillTx/>
              <a:latin typeface="Arial" panose="020B0604020202020204"/>
              <a:ea typeface="+mn-ea"/>
              <a:cs typeface="+mn-cs"/>
            </a:endParaRPr>
          </a:p>
        </p:txBody>
      </p:sp>
      <p:graphicFrame>
        <p:nvGraphicFramePr>
          <p:cNvPr id="13" name="Table 12">
            <a:extLst>
              <a:ext uri="{FF2B5EF4-FFF2-40B4-BE49-F238E27FC236}">
                <a16:creationId xmlns:a16="http://schemas.microsoft.com/office/drawing/2014/main" id="{87FB4D49-C5EF-6CEC-197D-F6CF743911E5}"/>
              </a:ext>
            </a:extLst>
          </p:cNvPr>
          <p:cNvGraphicFramePr>
            <a:graphicFrameLocks noGrp="1"/>
          </p:cNvGraphicFramePr>
          <p:nvPr/>
        </p:nvGraphicFramePr>
        <p:xfrm>
          <a:off x="2365040" y="3183039"/>
          <a:ext cx="9186493" cy="2523281"/>
        </p:xfrm>
        <a:graphic>
          <a:graphicData uri="http://schemas.openxmlformats.org/drawingml/2006/table">
            <a:tbl>
              <a:tblPr firstRow="1" bandRow="1">
                <a:tableStyleId>{5940675A-B579-460E-94D1-54222C63F5DA}</a:tableStyleId>
              </a:tblPr>
              <a:tblGrid>
                <a:gridCol w="4596398">
                  <a:extLst>
                    <a:ext uri="{9D8B030D-6E8A-4147-A177-3AD203B41FA5}">
                      <a16:colId xmlns:a16="http://schemas.microsoft.com/office/drawing/2014/main" val="2815822586"/>
                    </a:ext>
                  </a:extLst>
                </a:gridCol>
                <a:gridCol w="4590095">
                  <a:extLst>
                    <a:ext uri="{9D8B030D-6E8A-4147-A177-3AD203B41FA5}">
                      <a16:colId xmlns:a16="http://schemas.microsoft.com/office/drawing/2014/main" val="3081556938"/>
                    </a:ext>
                  </a:extLst>
                </a:gridCol>
              </a:tblGrid>
              <a:tr h="316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bg1"/>
                          </a:solidFill>
                        </a:rPr>
                        <a:t>Advantages</a:t>
                      </a:r>
                    </a:p>
                  </a:txBody>
                  <a:tcPr>
                    <a:lnB w="12700" cmpd="sng">
                      <a:noFill/>
                    </a:lnB>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bg1"/>
                          </a:solidFill>
                        </a:rPr>
                        <a:t>Disadvantages</a:t>
                      </a:r>
                    </a:p>
                  </a:txBody>
                  <a:tcPr>
                    <a:lnB w="12700" cmpd="sng">
                      <a:noFill/>
                    </a:lnB>
                    <a:solidFill>
                      <a:schemeClr val="accent6"/>
                    </a:solidFill>
                  </a:tcPr>
                </a:tc>
                <a:extLst>
                  <a:ext uri="{0D108BD9-81ED-4DB2-BD59-A6C34878D82A}">
                    <a16:rowId xmlns:a16="http://schemas.microsoft.com/office/drawing/2014/main" val="3558527275"/>
                  </a:ext>
                </a:extLst>
              </a:tr>
              <a:tr h="2207085">
                <a:tc>
                  <a:txBody>
                    <a:bodyPr/>
                    <a:lstStyle/>
                    <a:p>
                      <a:pPr marL="285750" indent="-285750">
                        <a:spcAft>
                          <a:spcPts val="600"/>
                        </a:spcAft>
                        <a:buFont typeface="Arial" panose="020B0604020202020204" pitchFamily="34" charset="0"/>
                        <a:buChar char="•"/>
                      </a:pPr>
                      <a:r>
                        <a:rPr lang="en-US" sz="1100"/>
                        <a:t>It is possible to evaluate your intervention even if it has already started</a:t>
                      </a:r>
                    </a:p>
                    <a:p>
                      <a:pPr marL="285750" indent="-285750">
                        <a:spcAft>
                          <a:spcPts val="600"/>
                        </a:spcAft>
                        <a:buFont typeface="Arial" panose="020B0604020202020204" pitchFamily="34" charset="0"/>
                        <a:buChar char="•"/>
                      </a:pPr>
                      <a:r>
                        <a:rPr lang="en-US" sz="1100"/>
                        <a:t>It takes less time to complete and you do not have to wait for the results</a:t>
                      </a:r>
                    </a:p>
                  </a:txBody>
                  <a:tcPr>
                    <a:lnL w="12700" cmpd="sng">
                      <a:noFill/>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CF9F4"/>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a:t>It is not possible to prove your intervention caused the outcomes because you cannot tell whether participants would have experienced those outcomes without your intervention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a:t>You cannot control for extraneous or confounding factors that may also impact the outcomes you are interested in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a:t>Your participants may experience recall bias when you are collecting information about events, thoughts, feelings, emotions in the pas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a:t>You’re likely to be reliant on data collected for other purposes (secondary data) that may not align accurately to what you are trying to measure</a:t>
                      </a:r>
                    </a:p>
                  </a:txBody>
                  <a:tcP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CF9F4"/>
                    </a:solidFill>
                  </a:tcPr>
                </a:tc>
                <a:extLst>
                  <a:ext uri="{0D108BD9-81ED-4DB2-BD59-A6C34878D82A}">
                    <a16:rowId xmlns:a16="http://schemas.microsoft.com/office/drawing/2014/main" val="340835997"/>
                  </a:ext>
                </a:extLst>
              </a:tr>
            </a:tbl>
          </a:graphicData>
        </a:graphic>
      </p:graphicFrame>
      <p:sp>
        <p:nvSpPr>
          <p:cNvPr id="14" name="TextBox 13">
            <a:extLst>
              <a:ext uri="{FF2B5EF4-FFF2-40B4-BE49-F238E27FC236}">
                <a16:creationId xmlns:a16="http://schemas.microsoft.com/office/drawing/2014/main" id="{ABC44C4F-66FB-1802-F9C3-3F3B4F7AD2D2}"/>
              </a:ext>
            </a:extLst>
          </p:cNvPr>
          <p:cNvSpPr txBox="1"/>
          <p:nvPr/>
        </p:nvSpPr>
        <p:spPr bwMode="gray">
          <a:xfrm>
            <a:off x="4648346" y="5759410"/>
            <a:ext cx="6903187"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B4D4F"/>
                </a:solidFill>
                <a:effectLst/>
                <a:uLnTx/>
                <a:uFillTx/>
                <a:latin typeface="Arial" panose="020B0604020202020204"/>
                <a:ea typeface="+mn-ea"/>
                <a:cs typeface="+mn-cs"/>
                <a:hlinkClick r:id="rId2"/>
              </a:rPr>
              <a:t>Paired Samples T-test in R - Easy Guides - Wiki – STHDA</a:t>
            </a:r>
            <a:endParaRPr kumimoji="0" lang="en-US" sz="8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B4D4F"/>
                </a:solidFill>
                <a:effectLst/>
                <a:uLnTx/>
                <a:uFillTx/>
                <a:latin typeface="Arial" panose="020B0604020202020204"/>
                <a:ea typeface="+mn-ea"/>
                <a:cs typeface="+mn-cs"/>
                <a:hlinkClick r:id="rId3"/>
              </a:rPr>
              <a:t>11: Introduction to Repeated Measures - Statistics </a:t>
            </a:r>
            <a:r>
              <a:rPr kumimoji="0" lang="en-US" sz="800" b="0" i="0" u="none" strike="noStrike" kern="1200" cap="none" spc="0" normalizeH="0" baseline="0" noProof="0" err="1">
                <a:ln>
                  <a:noFill/>
                </a:ln>
                <a:solidFill>
                  <a:srgbClr val="4B4D4F"/>
                </a:solidFill>
                <a:effectLst/>
                <a:uLnTx/>
                <a:uFillTx/>
                <a:latin typeface="Arial" panose="020B0604020202020204"/>
                <a:ea typeface="+mn-ea"/>
                <a:cs typeface="+mn-cs"/>
                <a:hlinkClick r:id="rId3"/>
              </a:rPr>
              <a:t>LibreTexts</a:t>
            </a:r>
            <a:endParaRPr kumimoji="0" lang="en-US" sz="8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8" name="Rectangle 7">
            <a:hlinkClick r:id="rId4" action="ppaction://hlinksldjump"/>
            <a:extLst>
              <a:ext uri="{FF2B5EF4-FFF2-40B4-BE49-F238E27FC236}">
                <a16:creationId xmlns:a16="http://schemas.microsoft.com/office/drawing/2014/main" id="{2C8D7814-3852-55C9-E789-FDE7210DE519}"/>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hlinkClick r:id="rId5" action="ppaction://hlinksldjump"/>
            <a:extLst>
              <a:ext uri="{FF2B5EF4-FFF2-40B4-BE49-F238E27FC236}">
                <a16:creationId xmlns:a16="http://schemas.microsoft.com/office/drawing/2014/main" id="{E0F70F8D-9BC8-BC4A-43E4-A7AC21D49259}"/>
              </a:ext>
            </a:extLst>
          </p:cNvPr>
          <p:cNvSpPr/>
          <p:nvPr/>
        </p:nvSpPr>
        <p:spPr bwMode="gray">
          <a:xfrm>
            <a:off x="11310150" y="6365289"/>
            <a:ext cx="30937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034133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3">
            <a:extLst>
              <a:ext uri="{FF2B5EF4-FFF2-40B4-BE49-F238E27FC236}">
                <a16:creationId xmlns:a16="http://schemas.microsoft.com/office/drawing/2014/main" id="{43F65C37-905A-87D0-5C2B-B200E7439685}"/>
              </a:ext>
            </a:extLst>
          </p:cNvPr>
          <p:cNvSpPr/>
          <p:nvPr/>
        </p:nvSpPr>
        <p:spPr bwMode="gray">
          <a:xfrm>
            <a:off x="254326" y="990902"/>
            <a:ext cx="1865448" cy="1569660"/>
          </a:xfrm>
          <a:prstGeom prst="flowChartProcess">
            <a:avLst/>
          </a:prstGeom>
          <a:solidFill>
            <a:schemeClr val="bg2"/>
          </a:solidFill>
          <a:ln cap="rnd">
            <a:solidFill>
              <a:schemeClr val="bg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Quasi-Experimental Design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intervention group compared with a matched control group)</a:t>
            </a:r>
          </a:p>
        </p:txBody>
      </p:sp>
      <p:grpSp>
        <p:nvGrpSpPr>
          <p:cNvPr id="3" name="Group 2">
            <a:extLst>
              <a:ext uri="{FF2B5EF4-FFF2-40B4-BE49-F238E27FC236}">
                <a16:creationId xmlns:a16="http://schemas.microsoft.com/office/drawing/2014/main" id="{36140546-BFA1-4B0A-2574-7A704724661A}"/>
              </a:ext>
            </a:extLst>
          </p:cNvPr>
          <p:cNvGrpSpPr/>
          <p:nvPr/>
        </p:nvGrpSpPr>
        <p:grpSpPr>
          <a:xfrm>
            <a:off x="1410398" y="2234904"/>
            <a:ext cx="554673" cy="162038"/>
            <a:chOff x="574585" y="5685302"/>
            <a:chExt cx="554673" cy="162038"/>
          </a:xfrm>
        </p:grpSpPr>
        <p:sp>
          <p:nvSpPr>
            <p:cNvPr id="4" name="Freeform 3">
              <a:hlinkClick r:id="" action="ppaction://noaction"/>
              <a:extLst>
                <a:ext uri="{FF2B5EF4-FFF2-40B4-BE49-F238E27FC236}">
                  <a16:creationId xmlns:a16="http://schemas.microsoft.com/office/drawing/2014/main" id="{8141ED66-AEC8-162E-FFB4-5D54144E6A47}"/>
                </a:ext>
              </a:extLst>
            </p:cNvPr>
            <p:cNvSpPr/>
            <p:nvPr/>
          </p:nvSpPr>
          <p:spPr bwMode="gray">
            <a:xfrm>
              <a:off x="574585" y="5685302"/>
              <a:ext cx="554673"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extBox 4">
              <a:hlinkClick r:id="" action="ppaction://noaction"/>
              <a:extLst>
                <a:ext uri="{FF2B5EF4-FFF2-40B4-BE49-F238E27FC236}">
                  <a16:creationId xmlns:a16="http://schemas.microsoft.com/office/drawing/2014/main" id="{43836D52-7EB5-5AA0-4070-57AB4979CE08}"/>
                </a:ext>
              </a:extLst>
            </p:cNvPr>
            <p:cNvSpPr txBox="1"/>
            <p:nvPr/>
          </p:nvSpPr>
          <p:spPr bwMode="gray">
            <a:xfrm>
              <a:off x="606654" y="5694542"/>
              <a:ext cx="500290"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Glossary</a:t>
              </a:r>
            </a:p>
          </p:txBody>
        </p:sp>
      </p:grpSp>
      <p:sp>
        <p:nvSpPr>
          <p:cNvPr id="6" name="TextBox 5">
            <a:extLst>
              <a:ext uri="{FF2B5EF4-FFF2-40B4-BE49-F238E27FC236}">
                <a16:creationId xmlns:a16="http://schemas.microsoft.com/office/drawing/2014/main" id="{5951CF4B-EEC5-1145-28CC-79BA8417B5B5}"/>
              </a:ext>
            </a:extLst>
          </p:cNvPr>
          <p:cNvSpPr txBox="1"/>
          <p:nvPr/>
        </p:nvSpPr>
        <p:spPr bwMode="gray">
          <a:xfrm>
            <a:off x="2365041" y="996559"/>
            <a:ext cx="2357430" cy="1231106"/>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What is it?</a:t>
            </a:r>
            <a:endParaRPr kumimoji="0" lang="en-GB" sz="1400" b="0" i="0" u="none" strike="noStrike" kern="1200" cap="none" spc="0" normalizeH="0" baseline="0" noProof="0">
              <a:ln>
                <a:noFill/>
              </a:ln>
              <a:solidFill>
                <a:srgbClr val="00267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An evaluation that compares outcomes in your participants with a suitable control group that you choose (before, during or after your intervention). </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4422811F-E5FD-E8E8-6E3F-A0E2652B8EDB}"/>
              </a:ext>
            </a:extLst>
          </p:cNvPr>
          <p:cNvSpPr txBox="1"/>
          <p:nvPr/>
        </p:nvSpPr>
        <p:spPr bwMode="gray">
          <a:xfrm>
            <a:off x="4967736" y="990902"/>
            <a:ext cx="6815291" cy="1969770"/>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How do you do it?</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Identify your participants and collect baseline data (if applicable)</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rack, monitor and feedback outcomes data during and after your intervention, in line with your plan and for both your intervention and matched control if you have one at the start</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Match your </a:t>
            </a: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hlinkClick r:id="rId2" action="ppaction://hlinksldjump"/>
              </a:rPr>
              <a:t>control group </a:t>
            </a: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according to age, sex, ethnicity, deprivation and comorbidities </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ink through other variables or things you haven’t measured that might influence the effect you’re trying to evaluate (confounders) that you want to try and control for in multivariable regression analysis</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Use the logic model or theory of change to inform the evaluation analysis</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Undertake analysis to test for significance in outcomes between intervention and control group </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0950C4B7-EA57-0755-A74F-F8210CB67862}"/>
              </a:ext>
            </a:extLst>
          </p:cNvPr>
          <p:cNvSpPr/>
          <p:nvPr/>
        </p:nvSpPr>
        <p:spPr bwMode="gray">
          <a:xfrm>
            <a:off x="304179" y="3183039"/>
            <a:ext cx="1815595" cy="2777923"/>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71426F6B-C65E-F7DE-9EBB-94F22DEA8572}"/>
              </a:ext>
            </a:extLst>
          </p:cNvPr>
          <p:cNvSpPr txBox="1"/>
          <p:nvPr/>
        </p:nvSpPr>
        <p:spPr bwMode="gray">
          <a:xfrm>
            <a:off x="411546" y="3324825"/>
            <a:ext cx="1531211" cy="2539157"/>
          </a:xfrm>
          <a:prstGeom prst="rect">
            <a:avLst/>
          </a:prstGeom>
          <a:solidFill>
            <a:schemeClr val="bg2"/>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A practical exampl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A health coaching intervention to encourage individuals to improve their diet and take physical exercise is offered to a cohort and outcomes for that cohort are tracked and compared to a similar control group chosen as the intervention is carried out.</a:t>
            </a:r>
          </a:p>
        </p:txBody>
      </p:sp>
      <p:graphicFrame>
        <p:nvGraphicFramePr>
          <p:cNvPr id="10" name="Table 9">
            <a:extLst>
              <a:ext uri="{FF2B5EF4-FFF2-40B4-BE49-F238E27FC236}">
                <a16:creationId xmlns:a16="http://schemas.microsoft.com/office/drawing/2014/main" id="{A43DD8AC-5DCB-8EDA-049E-FD24592BF1FC}"/>
              </a:ext>
            </a:extLst>
          </p:cNvPr>
          <p:cNvGraphicFramePr>
            <a:graphicFrameLocks noGrp="1"/>
          </p:cNvGraphicFramePr>
          <p:nvPr/>
        </p:nvGraphicFramePr>
        <p:xfrm>
          <a:off x="2365040" y="3183039"/>
          <a:ext cx="9186493" cy="2476981"/>
        </p:xfrm>
        <a:graphic>
          <a:graphicData uri="http://schemas.openxmlformats.org/drawingml/2006/table">
            <a:tbl>
              <a:tblPr firstRow="1" bandRow="1">
                <a:tableStyleId>{5940675A-B579-460E-94D1-54222C63F5DA}</a:tableStyleId>
              </a:tblPr>
              <a:tblGrid>
                <a:gridCol w="4596398">
                  <a:extLst>
                    <a:ext uri="{9D8B030D-6E8A-4147-A177-3AD203B41FA5}">
                      <a16:colId xmlns:a16="http://schemas.microsoft.com/office/drawing/2014/main" val="2815822586"/>
                    </a:ext>
                  </a:extLst>
                </a:gridCol>
                <a:gridCol w="4590095">
                  <a:extLst>
                    <a:ext uri="{9D8B030D-6E8A-4147-A177-3AD203B41FA5}">
                      <a16:colId xmlns:a16="http://schemas.microsoft.com/office/drawing/2014/main" val="3081556938"/>
                    </a:ext>
                  </a:extLst>
                </a:gridCol>
              </a:tblGrid>
              <a:tr h="3103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bg1"/>
                          </a:solidFill>
                        </a:rPr>
                        <a:t>Advantages</a:t>
                      </a:r>
                    </a:p>
                  </a:txBody>
                  <a:tcPr>
                    <a:lnB w="12700" cmpd="sng">
                      <a:noFill/>
                    </a:lnB>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bg1"/>
                          </a:solidFill>
                        </a:rPr>
                        <a:t>Disadvantages</a:t>
                      </a:r>
                    </a:p>
                  </a:txBody>
                  <a:tcPr>
                    <a:lnB w="12700" cmpd="sng">
                      <a:noFill/>
                    </a:lnB>
                    <a:solidFill>
                      <a:schemeClr val="accent6"/>
                    </a:solidFill>
                  </a:tcPr>
                </a:tc>
                <a:extLst>
                  <a:ext uri="{0D108BD9-81ED-4DB2-BD59-A6C34878D82A}">
                    <a16:rowId xmlns:a16="http://schemas.microsoft.com/office/drawing/2014/main" val="3558527275"/>
                  </a:ext>
                </a:extLst>
              </a:tr>
              <a:tr h="2166587">
                <a:tc>
                  <a:txBody>
                    <a:bodyPr/>
                    <a:lstStyle/>
                    <a:p>
                      <a:pPr marL="285750" indent="-285750">
                        <a:spcAft>
                          <a:spcPts val="600"/>
                        </a:spcAft>
                        <a:buFont typeface="Arial" panose="020B0604020202020204" pitchFamily="34" charset="0"/>
                        <a:buChar char="•"/>
                      </a:pPr>
                      <a:r>
                        <a:rPr lang="en-US" sz="1100"/>
                        <a:t>A control group can be easily selected by matching the characteristics of individuals and choosing a different geography </a:t>
                      </a:r>
                    </a:p>
                    <a:p>
                      <a:pPr marL="285750" indent="-285750">
                        <a:spcAft>
                          <a:spcPts val="600"/>
                        </a:spcAft>
                        <a:buFont typeface="Arial" panose="020B0604020202020204" pitchFamily="34" charset="0"/>
                        <a:buChar char="•"/>
                      </a:pPr>
                      <a:r>
                        <a:rPr lang="en-US" sz="1100"/>
                        <a:t>There are no ethical concerns if a matched control group is selected retrospectively</a:t>
                      </a:r>
                    </a:p>
                    <a:p>
                      <a:pPr marL="285750" indent="-285750">
                        <a:spcAft>
                          <a:spcPts val="600"/>
                        </a:spcAft>
                        <a:buFont typeface="Arial" panose="020B0604020202020204" pitchFamily="34" charset="0"/>
                        <a:buChar char="•"/>
                      </a:pPr>
                      <a:r>
                        <a:rPr lang="en-US" sz="1100"/>
                        <a:t>You can adjust for the effects of confounding variables using multivariable regression </a:t>
                      </a:r>
                    </a:p>
                  </a:txBody>
                  <a:tcPr>
                    <a:lnL w="12700" cmpd="sng">
                      <a:noFill/>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CF9F4"/>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a:t>May still be difficult to prove causality between intervention and outcome without random allocation to a control group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a:t>The effect of confounders may be more likely in one of the groups because allocation is not random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a:t>Evaluators may introduce bias in selecting the control group or might miss some of the potential confounding factors in selecting their control</a:t>
                      </a:r>
                    </a:p>
                  </a:txBody>
                  <a:tcP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CF9F4"/>
                    </a:solidFill>
                  </a:tcPr>
                </a:tc>
                <a:extLst>
                  <a:ext uri="{0D108BD9-81ED-4DB2-BD59-A6C34878D82A}">
                    <a16:rowId xmlns:a16="http://schemas.microsoft.com/office/drawing/2014/main" val="340835997"/>
                  </a:ext>
                </a:extLst>
              </a:tr>
            </a:tbl>
          </a:graphicData>
        </a:graphic>
      </p:graphicFrame>
      <p:sp>
        <p:nvSpPr>
          <p:cNvPr id="11" name="TextBox 10">
            <a:extLst>
              <a:ext uri="{FF2B5EF4-FFF2-40B4-BE49-F238E27FC236}">
                <a16:creationId xmlns:a16="http://schemas.microsoft.com/office/drawing/2014/main" id="{FD94B0E4-D486-2EE5-DE5D-4B2CE369C2E8}"/>
              </a:ext>
            </a:extLst>
          </p:cNvPr>
          <p:cNvSpPr txBox="1"/>
          <p:nvPr/>
        </p:nvSpPr>
        <p:spPr bwMode="gray">
          <a:xfrm>
            <a:off x="4722471" y="5780110"/>
            <a:ext cx="6903187"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B4D4F"/>
                </a:solidFill>
                <a:effectLst/>
                <a:uLnTx/>
                <a:uFillTx/>
                <a:latin typeface="Arial" panose="020B0604020202020204"/>
                <a:ea typeface="+mn-ea"/>
                <a:cs typeface="+mn-cs"/>
              </a:rPr>
              <a:t>Guidance on undertake multivariable regression can be found here - Introduction to Multivariate Regression Analysis (</a:t>
            </a:r>
            <a:r>
              <a:rPr kumimoji="0" lang="en-US" sz="800" b="0" i="0" u="none" strike="noStrike" kern="1200" cap="none" spc="0" normalizeH="0" baseline="0" noProof="0">
                <a:ln>
                  <a:noFill/>
                </a:ln>
                <a:solidFill>
                  <a:srgbClr val="4B4D4F"/>
                </a:solidFill>
                <a:effectLst/>
                <a:uLnTx/>
                <a:uFillTx/>
                <a:latin typeface="Arial" panose="020B0604020202020204"/>
                <a:ea typeface="+mn-ea"/>
                <a:cs typeface="+mn-cs"/>
                <a:hlinkClick r:id="rId3"/>
              </a:rPr>
              <a:t>https://www.mygreatlearning.com/blog/introduction-to-multivariate-regression/</a:t>
            </a:r>
            <a:r>
              <a:rPr kumimoji="0" lang="en-US" sz="800" b="0" i="0" u="none" strike="noStrike" kern="1200" cap="none" spc="0" normalizeH="0" baseline="0" noProof="0">
                <a:ln>
                  <a:noFill/>
                </a:ln>
                <a:solidFill>
                  <a:srgbClr val="4B4D4F"/>
                </a:solidFill>
                <a:effectLst/>
                <a:uLnTx/>
                <a:uFillTx/>
                <a:latin typeface="Arial" panose="020B0604020202020204"/>
                <a:ea typeface="+mn-ea"/>
                <a:cs typeface="+mn-cs"/>
              </a:rPr>
              <a:t>)  </a:t>
            </a:r>
          </a:p>
        </p:txBody>
      </p:sp>
      <p:sp>
        <p:nvSpPr>
          <p:cNvPr id="12" name="Rectangle 11">
            <a:hlinkClick r:id="rId4" action="ppaction://hlinksldjump"/>
            <a:extLst>
              <a:ext uri="{FF2B5EF4-FFF2-40B4-BE49-F238E27FC236}">
                <a16:creationId xmlns:a16="http://schemas.microsoft.com/office/drawing/2014/main" id="{4492AAAB-A9C3-4372-218A-2B2B350BC8C6}"/>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hlinkClick r:id="rId2" action="ppaction://hlinksldjump"/>
            <a:extLst>
              <a:ext uri="{FF2B5EF4-FFF2-40B4-BE49-F238E27FC236}">
                <a16:creationId xmlns:a16="http://schemas.microsoft.com/office/drawing/2014/main" id="{8FD750C1-5814-A8B4-DDF9-7CC7F36927B0}"/>
              </a:ext>
            </a:extLst>
          </p:cNvPr>
          <p:cNvSpPr/>
          <p:nvPr/>
        </p:nvSpPr>
        <p:spPr bwMode="gray">
          <a:xfrm>
            <a:off x="11301274" y="6365289"/>
            <a:ext cx="324383"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8756721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65FB37-A3BC-9C42-EE77-83D581808C35}"/>
              </a:ext>
            </a:extLst>
          </p:cNvPr>
          <p:cNvSpPr>
            <a:spLocks noGrp="1"/>
          </p:cNvSpPr>
          <p:nvPr>
            <p:ph type="title" hasCustomPrompt="1"/>
          </p:nvPr>
        </p:nvSpPr>
        <p:spPr bwMode="gray">
          <a:xfrm>
            <a:off x="457198" y="826727"/>
            <a:ext cx="11457298" cy="306037"/>
          </a:xfrm>
        </p:spPr>
        <p:txBody>
          <a:bodyPr/>
          <a:lstStyle>
            <a:lvl1pPr>
              <a:defRPr/>
            </a:lvl1pPr>
          </a:lstStyle>
          <a:p>
            <a:r>
              <a:rPr lang="en-US"/>
              <a:t>Choosing control groups</a:t>
            </a:r>
          </a:p>
        </p:txBody>
      </p:sp>
      <p:sp>
        <p:nvSpPr>
          <p:cNvPr id="3" name="TextBox 2">
            <a:extLst>
              <a:ext uri="{FF2B5EF4-FFF2-40B4-BE49-F238E27FC236}">
                <a16:creationId xmlns:a16="http://schemas.microsoft.com/office/drawing/2014/main" id="{68FBD921-482C-850D-70FE-339B42A23CBF}"/>
              </a:ext>
            </a:extLst>
          </p:cNvPr>
          <p:cNvSpPr txBox="1"/>
          <p:nvPr/>
        </p:nvSpPr>
        <p:spPr bwMode="gray">
          <a:xfrm>
            <a:off x="457198" y="1253593"/>
            <a:ext cx="9737389" cy="33855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5A5A5A"/>
                </a:solidFill>
                <a:effectLst/>
                <a:uLnTx/>
                <a:uFillTx/>
                <a:latin typeface="Arial" panose="020B0604020202020204"/>
                <a:ea typeface="+mn-ea"/>
                <a:cs typeface="+mn-cs"/>
              </a:rPr>
              <a:t>The simplest and best control groups are often people with the same criteria from neighbouring geographies who have similar demographics and experience similar health challenges. When you look at the data, check to make sure there are no individuals included in both intervention and control groups. </a:t>
            </a:r>
          </a:p>
        </p:txBody>
      </p:sp>
      <p:sp>
        <p:nvSpPr>
          <p:cNvPr id="5" name="TextBox 4">
            <a:extLst>
              <a:ext uri="{FF2B5EF4-FFF2-40B4-BE49-F238E27FC236}">
                <a16:creationId xmlns:a16="http://schemas.microsoft.com/office/drawing/2014/main" id="{8BA9EB84-05CA-AC85-D8EC-CFA422503D57}"/>
              </a:ext>
            </a:extLst>
          </p:cNvPr>
          <p:cNvSpPr txBox="1"/>
          <p:nvPr/>
        </p:nvSpPr>
        <p:spPr>
          <a:xfrm>
            <a:off x="1725796" y="1870073"/>
            <a:ext cx="4310794" cy="40959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4B4D4F"/>
                </a:solidFill>
                <a:effectLst/>
                <a:uLnTx/>
                <a:uFillTx/>
                <a:latin typeface="Arial" panose="020B0604020202020204"/>
                <a:ea typeface="+mn-ea"/>
                <a:cs typeface="+mn-cs"/>
              </a:rPr>
              <a:t>People in the same segment, but different PC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4B4D4F"/>
                </a:solidFill>
                <a:effectLst/>
                <a:uLnTx/>
                <a:uFillTx/>
                <a:latin typeface="Arial" panose="020B0604020202020204"/>
                <a:ea typeface="+mn-ea"/>
                <a:cs typeface="+mn-cs"/>
              </a:rPr>
              <a:t>or geographies</a:t>
            </a:r>
          </a:p>
        </p:txBody>
      </p:sp>
      <p:sp>
        <p:nvSpPr>
          <p:cNvPr id="6" name="TextBox 5">
            <a:extLst>
              <a:ext uri="{FF2B5EF4-FFF2-40B4-BE49-F238E27FC236}">
                <a16:creationId xmlns:a16="http://schemas.microsoft.com/office/drawing/2014/main" id="{9DD80D8B-7DE3-5C3F-C3DC-CE64B4E7E8AB}"/>
              </a:ext>
            </a:extLst>
          </p:cNvPr>
          <p:cNvSpPr txBox="1"/>
          <p:nvPr/>
        </p:nvSpPr>
        <p:spPr>
          <a:xfrm>
            <a:off x="3211681" y="2898615"/>
            <a:ext cx="2074030" cy="385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FFFFFF"/>
                </a:solidFill>
                <a:effectLst/>
                <a:uLnTx/>
                <a:uFillTx/>
                <a:latin typeface="Arial" panose="020B0604020202020204"/>
                <a:ea typeface="+mn-ea"/>
                <a:cs typeface="+mn-cs"/>
              </a:rPr>
              <a:t>Participants</a:t>
            </a:r>
          </a:p>
        </p:txBody>
      </p:sp>
      <p:sp>
        <p:nvSpPr>
          <p:cNvPr id="7" name="TextBox 6">
            <a:extLst>
              <a:ext uri="{FF2B5EF4-FFF2-40B4-BE49-F238E27FC236}">
                <a16:creationId xmlns:a16="http://schemas.microsoft.com/office/drawing/2014/main" id="{F5E6F974-CE54-A995-8E03-4B09AA436098}"/>
              </a:ext>
            </a:extLst>
          </p:cNvPr>
          <p:cNvSpPr txBox="1"/>
          <p:nvPr/>
        </p:nvSpPr>
        <p:spPr>
          <a:xfrm>
            <a:off x="3572605" y="3732875"/>
            <a:ext cx="1352180" cy="385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FFFFFF"/>
                </a:solidFill>
                <a:effectLst/>
                <a:uLnTx/>
                <a:uFillTx/>
                <a:latin typeface="Arial" panose="020B0604020202020204"/>
                <a:ea typeface="+mn-ea"/>
                <a:cs typeface="+mn-cs"/>
              </a:rPr>
              <a:t>Control</a:t>
            </a:r>
          </a:p>
        </p:txBody>
      </p:sp>
      <p:sp>
        <p:nvSpPr>
          <p:cNvPr id="8" name="TextBox 7">
            <a:extLst>
              <a:ext uri="{FF2B5EF4-FFF2-40B4-BE49-F238E27FC236}">
                <a16:creationId xmlns:a16="http://schemas.microsoft.com/office/drawing/2014/main" id="{229B6A2E-9010-E1F9-530F-DE88C85A1208}"/>
              </a:ext>
            </a:extLst>
          </p:cNvPr>
          <p:cNvSpPr txBox="1"/>
          <p:nvPr/>
        </p:nvSpPr>
        <p:spPr>
          <a:xfrm>
            <a:off x="6613250" y="1863085"/>
            <a:ext cx="4043094" cy="24093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4B4D4F"/>
                </a:solidFill>
                <a:effectLst/>
                <a:uLnTx/>
                <a:uFillTx/>
                <a:latin typeface="Arial" panose="020B0604020202020204"/>
                <a:ea typeface="+mn-ea"/>
                <a:cs typeface="+mn-cs"/>
              </a:rPr>
              <a:t>People in </a:t>
            </a:r>
            <a:r>
              <a:rPr kumimoji="0" lang="en-GB" sz="1400" b="1" i="0" u="sng" strike="noStrike" kern="1200" cap="none" spc="0" normalizeH="0" baseline="0" noProof="0">
                <a:ln>
                  <a:noFill/>
                </a:ln>
                <a:solidFill>
                  <a:srgbClr val="4B4D4F"/>
                </a:solidFill>
                <a:effectLst/>
                <a:uLnTx/>
                <a:uFillTx/>
                <a:latin typeface="Arial" panose="020B0604020202020204"/>
                <a:ea typeface="+mn-ea"/>
                <a:cs typeface="+mn-cs"/>
              </a:rPr>
              <a:t>similar</a:t>
            </a:r>
            <a:r>
              <a:rPr kumimoji="0" lang="en-GB" sz="1400" b="1" i="0" u="none" strike="noStrike" kern="1200" cap="none" spc="0" normalizeH="0" baseline="0" noProof="0">
                <a:ln>
                  <a:noFill/>
                </a:ln>
                <a:solidFill>
                  <a:srgbClr val="4B4D4F"/>
                </a:solidFill>
                <a:effectLst/>
                <a:uLnTx/>
                <a:uFillTx/>
                <a:latin typeface="Arial" panose="020B0604020202020204"/>
                <a:ea typeface="+mn-ea"/>
                <a:cs typeface="+mn-cs"/>
              </a:rPr>
              <a:t> segments (or subsegments)</a:t>
            </a:r>
          </a:p>
        </p:txBody>
      </p:sp>
      <p:sp>
        <p:nvSpPr>
          <p:cNvPr id="9" name="Rectangle 8">
            <a:extLst>
              <a:ext uri="{FF2B5EF4-FFF2-40B4-BE49-F238E27FC236}">
                <a16:creationId xmlns:a16="http://schemas.microsoft.com/office/drawing/2014/main" id="{69F61D82-6491-6A2C-000D-CAD24AA30EEE}"/>
              </a:ext>
            </a:extLst>
          </p:cNvPr>
          <p:cNvSpPr/>
          <p:nvPr/>
        </p:nvSpPr>
        <p:spPr>
          <a:xfrm>
            <a:off x="2913093" y="2846036"/>
            <a:ext cx="2958933" cy="43768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B8CF4AC1-2D2A-9836-AE01-3C3E6A98A74B}"/>
              </a:ext>
            </a:extLst>
          </p:cNvPr>
          <p:cNvSpPr/>
          <p:nvPr/>
        </p:nvSpPr>
        <p:spPr>
          <a:xfrm>
            <a:off x="2913092" y="3419736"/>
            <a:ext cx="2958933" cy="43768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533AC037-0EA7-E222-71D7-8F345738E6AB}"/>
              </a:ext>
            </a:extLst>
          </p:cNvPr>
          <p:cNvSpPr/>
          <p:nvPr/>
        </p:nvSpPr>
        <p:spPr>
          <a:xfrm>
            <a:off x="2913091" y="3993436"/>
            <a:ext cx="2958933" cy="43768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1A7F482A-7F6A-A1D8-EE3D-D47DDA3F4B07}"/>
              </a:ext>
            </a:extLst>
          </p:cNvPr>
          <p:cNvSpPr/>
          <p:nvPr/>
        </p:nvSpPr>
        <p:spPr>
          <a:xfrm>
            <a:off x="2913090" y="4567135"/>
            <a:ext cx="2958933" cy="43768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4CE7F0C7-836F-FCDB-EC0C-A418225EC35D}"/>
              </a:ext>
            </a:extLst>
          </p:cNvPr>
          <p:cNvSpPr/>
          <p:nvPr/>
        </p:nvSpPr>
        <p:spPr>
          <a:xfrm>
            <a:off x="2913089" y="2632213"/>
            <a:ext cx="904643" cy="2544843"/>
          </a:xfrm>
          <a:prstGeom prst="rect">
            <a:avLst/>
          </a:prstGeom>
          <a:solidFill>
            <a:srgbClr val="8061BC">
              <a:alpha val="54902"/>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983D6527-27B6-E44E-CAF0-8B25254FF5BC}"/>
              </a:ext>
            </a:extLst>
          </p:cNvPr>
          <p:cNvSpPr/>
          <p:nvPr/>
        </p:nvSpPr>
        <p:spPr>
          <a:xfrm>
            <a:off x="3895252" y="2632213"/>
            <a:ext cx="982163" cy="2544843"/>
          </a:xfrm>
          <a:prstGeom prst="rect">
            <a:avLst/>
          </a:prstGeom>
          <a:solidFill>
            <a:srgbClr val="8061BC">
              <a:alpha val="54902"/>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2BFB090F-83C1-84BC-C5D9-1C2CF34A57F6}"/>
              </a:ext>
            </a:extLst>
          </p:cNvPr>
          <p:cNvSpPr/>
          <p:nvPr/>
        </p:nvSpPr>
        <p:spPr>
          <a:xfrm>
            <a:off x="4946541" y="2632212"/>
            <a:ext cx="925481" cy="2544843"/>
          </a:xfrm>
          <a:prstGeom prst="rect">
            <a:avLst/>
          </a:prstGeom>
          <a:solidFill>
            <a:srgbClr val="8061BC">
              <a:alpha val="54902"/>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2C446181-BDF0-396E-0CF1-6EC8BA039FD0}"/>
              </a:ext>
            </a:extLst>
          </p:cNvPr>
          <p:cNvSpPr txBox="1"/>
          <p:nvPr/>
        </p:nvSpPr>
        <p:spPr>
          <a:xfrm>
            <a:off x="2969771" y="2372987"/>
            <a:ext cx="636713" cy="2168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B4D4F"/>
                </a:solidFill>
                <a:effectLst/>
                <a:uLnTx/>
                <a:uFillTx/>
                <a:latin typeface="Arial" panose="020B0604020202020204"/>
                <a:ea typeface="+mn-ea"/>
                <a:cs typeface="+mn-cs"/>
              </a:rPr>
              <a:t>PCN 1</a:t>
            </a:r>
          </a:p>
        </p:txBody>
      </p:sp>
      <p:sp>
        <p:nvSpPr>
          <p:cNvPr id="17" name="TextBox 16">
            <a:extLst>
              <a:ext uri="{FF2B5EF4-FFF2-40B4-BE49-F238E27FC236}">
                <a16:creationId xmlns:a16="http://schemas.microsoft.com/office/drawing/2014/main" id="{F42B1EEC-0681-9683-2342-CA9FB6FDF935}"/>
              </a:ext>
            </a:extLst>
          </p:cNvPr>
          <p:cNvSpPr txBox="1"/>
          <p:nvPr/>
        </p:nvSpPr>
        <p:spPr>
          <a:xfrm>
            <a:off x="3951934" y="2365999"/>
            <a:ext cx="636713" cy="2168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B4D4F"/>
                </a:solidFill>
                <a:effectLst/>
                <a:uLnTx/>
                <a:uFillTx/>
                <a:latin typeface="Arial" panose="020B0604020202020204"/>
                <a:ea typeface="+mn-ea"/>
                <a:cs typeface="+mn-cs"/>
              </a:rPr>
              <a:t>PCN 2</a:t>
            </a:r>
          </a:p>
        </p:txBody>
      </p:sp>
      <p:sp>
        <p:nvSpPr>
          <p:cNvPr id="18" name="TextBox 17">
            <a:extLst>
              <a:ext uri="{FF2B5EF4-FFF2-40B4-BE49-F238E27FC236}">
                <a16:creationId xmlns:a16="http://schemas.microsoft.com/office/drawing/2014/main" id="{DA984F1B-65F7-8F17-56CE-59E4568801DC}"/>
              </a:ext>
            </a:extLst>
          </p:cNvPr>
          <p:cNvSpPr txBox="1"/>
          <p:nvPr/>
        </p:nvSpPr>
        <p:spPr>
          <a:xfrm>
            <a:off x="4946542" y="2372059"/>
            <a:ext cx="636713" cy="2168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B4D4F"/>
                </a:solidFill>
                <a:effectLst/>
                <a:uLnTx/>
                <a:uFillTx/>
                <a:latin typeface="Arial" panose="020B0604020202020204"/>
                <a:ea typeface="+mn-ea"/>
                <a:cs typeface="+mn-cs"/>
              </a:rPr>
              <a:t>PCN 3</a:t>
            </a:r>
          </a:p>
        </p:txBody>
      </p:sp>
      <p:sp>
        <p:nvSpPr>
          <p:cNvPr id="19" name="TextBox 18">
            <a:extLst>
              <a:ext uri="{FF2B5EF4-FFF2-40B4-BE49-F238E27FC236}">
                <a16:creationId xmlns:a16="http://schemas.microsoft.com/office/drawing/2014/main" id="{5D0BCF2E-0D0D-C09E-06D4-88642DEF3330}"/>
              </a:ext>
            </a:extLst>
          </p:cNvPr>
          <p:cNvSpPr txBox="1"/>
          <p:nvPr/>
        </p:nvSpPr>
        <p:spPr>
          <a:xfrm>
            <a:off x="1895476" y="2905071"/>
            <a:ext cx="1312419" cy="21684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B4D4F"/>
                </a:solidFill>
                <a:effectLst/>
                <a:uLnTx/>
                <a:uFillTx/>
                <a:latin typeface="Arial" panose="020B0604020202020204"/>
                <a:ea typeface="+mn-ea"/>
                <a:cs typeface="+mn-cs"/>
              </a:rPr>
              <a:t>Segment 1</a:t>
            </a:r>
          </a:p>
        </p:txBody>
      </p:sp>
      <p:sp>
        <p:nvSpPr>
          <p:cNvPr id="20" name="TextBox 19">
            <a:extLst>
              <a:ext uri="{FF2B5EF4-FFF2-40B4-BE49-F238E27FC236}">
                <a16:creationId xmlns:a16="http://schemas.microsoft.com/office/drawing/2014/main" id="{A1928414-2772-81E1-E751-DF8A2D55AA69}"/>
              </a:ext>
            </a:extLst>
          </p:cNvPr>
          <p:cNvSpPr txBox="1"/>
          <p:nvPr/>
        </p:nvSpPr>
        <p:spPr>
          <a:xfrm>
            <a:off x="1895476" y="3484204"/>
            <a:ext cx="1312419" cy="21684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B4D4F"/>
                </a:solidFill>
                <a:effectLst/>
                <a:uLnTx/>
                <a:uFillTx/>
                <a:latin typeface="Arial" panose="020B0604020202020204"/>
                <a:ea typeface="+mn-ea"/>
                <a:cs typeface="+mn-cs"/>
              </a:rPr>
              <a:t>Segment 2</a:t>
            </a:r>
          </a:p>
        </p:txBody>
      </p:sp>
      <p:sp>
        <p:nvSpPr>
          <p:cNvPr id="21" name="TextBox 20">
            <a:extLst>
              <a:ext uri="{FF2B5EF4-FFF2-40B4-BE49-F238E27FC236}">
                <a16:creationId xmlns:a16="http://schemas.microsoft.com/office/drawing/2014/main" id="{245989C8-4D29-3CF4-A3AD-42B35984A0C8}"/>
              </a:ext>
            </a:extLst>
          </p:cNvPr>
          <p:cNvSpPr txBox="1"/>
          <p:nvPr/>
        </p:nvSpPr>
        <p:spPr>
          <a:xfrm>
            <a:off x="1895476" y="4076357"/>
            <a:ext cx="1312419" cy="21684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B4D4F"/>
                </a:solidFill>
                <a:effectLst/>
                <a:uLnTx/>
                <a:uFillTx/>
                <a:latin typeface="Arial" panose="020B0604020202020204"/>
                <a:ea typeface="+mn-ea"/>
                <a:cs typeface="+mn-cs"/>
              </a:rPr>
              <a:t>Segment 3</a:t>
            </a:r>
          </a:p>
        </p:txBody>
      </p:sp>
      <p:sp>
        <p:nvSpPr>
          <p:cNvPr id="22" name="TextBox 21">
            <a:extLst>
              <a:ext uri="{FF2B5EF4-FFF2-40B4-BE49-F238E27FC236}">
                <a16:creationId xmlns:a16="http://schemas.microsoft.com/office/drawing/2014/main" id="{DF1D15C3-DEA0-B727-24D0-010596977B2E}"/>
              </a:ext>
            </a:extLst>
          </p:cNvPr>
          <p:cNvSpPr txBox="1"/>
          <p:nvPr/>
        </p:nvSpPr>
        <p:spPr>
          <a:xfrm>
            <a:off x="1896700" y="4650057"/>
            <a:ext cx="1312419" cy="21684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B4D4F"/>
                </a:solidFill>
                <a:effectLst/>
                <a:uLnTx/>
                <a:uFillTx/>
                <a:latin typeface="Arial" panose="020B0604020202020204"/>
                <a:ea typeface="+mn-ea"/>
                <a:cs typeface="+mn-cs"/>
              </a:rPr>
              <a:t>Segment 4</a:t>
            </a:r>
          </a:p>
        </p:txBody>
      </p:sp>
      <p:sp>
        <p:nvSpPr>
          <p:cNvPr id="26" name="TextBox 25">
            <a:extLst>
              <a:ext uri="{FF2B5EF4-FFF2-40B4-BE49-F238E27FC236}">
                <a16:creationId xmlns:a16="http://schemas.microsoft.com/office/drawing/2014/main" id="{A797B4D7-6306-168D-F174-FBE1F578F930}"/>
              </a:ext>
            </a:extLst>
          </p:cNvPr>
          <p:cNvSpPr txBox="1"/>
          <p:nvPr/>
        </p:nvSpPr>
        <p:spPr>
          <a:xfrm>
            <a:off x="7116159" y="2898615"/>
            <a:ext cx="2074030" cy="385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FFFFFF"/>
                </a:solidFill>
                <a:effectLst/>
                <a:uLnTx/>
                <a:uFillTx/>
                <a:latin typeface="Arial" panose="020B0604020202020204"/>
                <a:ea typeface="+mn-ea"/>
                <a:cs typeface="+mn-cs"/>
              </a:rPr>
              <a:t>Participants</a:t>
            </a:r>
          </a:p>
        </p:txBody>
      </p:sp>
      <p:sp>
        <p:nvSpPr>
          <p:cNvPr id="27" name="TextBox 26">
            <a:extLst>
              <a:ext uri="{FF2B5EF4-FFF2-40B4-BE49-F238E27FC236}">
                <a16:creationId xmlns:a16="http://schemas.microsoft.com/office/drawing/2014/main" id="{BBFBF9C6-8BEE-2F61-EAFE-8E6F76C63E18}"/>
              </a:ext>
            </a:extLst>
          </p:cNvPr>
          <p:cNvSpPr txBox="1"/>
          <p:nvPr/>
        </p:nvSpPr>
        <p:spPr>
          <a:xfrm>
            <a:off x="7477084" y="3732875"/>
            <a:ext cx="1352180" cy="385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FFFFFF"/>
                </a:solidFill>
                <a:effectLst/>
                <a:uLnTx/>
                <a:uFillTx/>
                <a:latin typeface="Arial" panose="020B0604020202020204"/>
                <a:ea typeface="+mn-ea"/>
                <a:cs typeface="+mn-cs"/>
              </a:rPr>
              <a:t>Control</a:t>
            </a:r>
          </a:p>
        </p:txBody>
      </p:sp>
      <p:sp>
        <p:nvSpPr>
          <p:cNvPr id="28" name="Rectangle 27">
            <a:extLst>
              <a:ext uri="{FF2B5EF4-FFF2-40B4-BE49-F238E27FC236}">
                <a16:creationId xmlns:a16="http://schemas.microsoft.com/office/drawing/2014/main" id="{1CE34E06-59C2-82BE-5EDB-7B2B9E17E6F8}"/>
              </a:ext>
            </a:extLst>
          </p:cNvPr>
          <p:cNvSpPr/>
          <p:nvPr/>
        </p:nvSpPr>
        <p:spPr>
          <a:xfrm>
            <a:off x="6817572" y="2846036"/>
            <a:ext cx="2958933" cy="43768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A618975C-1751-5313-51D2-CA3A243D9A3B}"/>
              </a:ext>
            </a:extLst>
          </p:cNvPr>
          <p:cNvSpPr/>
          <p:nvPr/>
        </p:nvSpPr>
        <p:spPr>
          <a:xfrm>
            <a:off x="6817571" y="3419736"/>
            <a:ext cx="2958933" cy="43768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139AD926-88C3-FCD9-D1A6-907FA0757E8D}"/>
              </a:ext>
            </a:extLst>
          </p:cNvPr>
          <p:cNvSpPr/>
          <p:nvPr/>
        </p:nvSpPr>
        <p:spPr>
          <a:xfrm>
            <a:off x="6817570" y="3993436"/>
            <a:ext cx="2958933" cy="43768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C3B7B5B3-4771-CD33-A866-EDFE36BBE2D5}"/>
              </a:ext>
            </a:extLst>
          </p:cNvPr>
          <p:cNvSpPr/>
          <p:nvPr/>
        </p:nvSpPr>
        <p:spPr>
          <a:xfrm>
            <a:off x="6817569" y="4567135"/>
            <a:ext cx="2958933" cy="43768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E0CF82C8-71FF-3929-8AD4-FBBF8F2E1A49}"/>
              </a:ext>
            </a:extLst>
          </p:cNvPr>
          <p:cNvSpPr/>
          <p:nvPr/>
        </p:nvSpPr>
        <p:spPr>
          <a:xfrm>
            <a:off x="6817568" y="2632213"/>
            <a:ext cx="925480" cy="2544843"/>
          </a:xfrm>
          <a:prstGeom prst="rect">
            <a:avLst/>
          </a:prstGeom>
          <a:solidFill>
            <a:srgbClr val="8061BC">
              <a:alpha val="54902"/>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F300FA20-0DCC-F409-10B1-1D7A0045C1D1}"/>
              </a:ext>
            </a:extLst>
          </p:cNvPr>
          <p:cNvSpPr/>
          <p:nvPr/>
        </p:nvSpPr>
        <p:spPr>
          <a:xfrm>
            <a:off x="7799731" y="2632213"/>
            <a:ext cx="982163" cy="2544843"/>
          </a:xfrm>
          <a:prstGeom prst="rect">
            <a:avLst/>
          </a:prstGeom>
          <a:solidFill>
            <a:srgbClr val="8061BC">
              <a:alpha val="54902"/>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E9C0F056-B6B7-382C-550A-1DC5EEADC486}"/>
              </a:ext>
            </a:extLst>
          </p:cNvPr>
          <p:cNvSpPr/>
          <p:nvPr/>
        </p:nvSpPr>
        <p:spPr>
          <a:xfrm>
            <a:off x="8862999" y="2632212"/>
            <a:ext cx="913502" cy="2544843"/>
          </a:xfrm>
          <a:prstGeom prst="rect">
            <a:avLst/>
          </a:prstGeom>
          <a:solidFill>
            <a:srgbClr val="8061BC">
              <a:alpha val="54902"/>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TextBox 34">
            <a:extLst>
              <a:ext uri="{FF2B5EF4-FFF2-40B4-BE49-F238E27FC236}">
                <a16:creationId xmlns:a16="http://schemas.microsoft.com/office/drawing/2014/main" id="{85F087BC-527F-E09A-E472-A7BBBC3A959D}"/>
              </a:ext>
            </a:extLst>
          </p:cNvPr>
          <p:cNvSpPr txBox="1"/>
          <p:nvPr/>
        </p:nvSpPr>
        <p:spPr>
          <a:xfrm>
            <a:off x="6883775" y="2395356"/>
            <a:ext cx="636713" cy="2168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B4D4F"/>
                </a:solidFill>
                <a:effectLst/>
                <a:uLnTx/>
                <a:uFillTx/>
                <a:latin typeface="Arial" panose="020B0604020202020204"/>
                <a:ea typeface="+mn-ea"/>
                <a:cs typeface="+mn-cs"/>
              </a:rPr>
              <a:t>PCN 1</a:t>
            </a:r>
          </a:p>
        </p:txBody>
      </p:sp>
      <p:sp>
        <p:nvSpPr>
          <p:cNvPr id="36" name="TextBox 35">
            <a:extLst>
              <a:ext uri="{FF2B5EF4-FFF2-40B4-BE49-F238E27FC236}">
                <a16:creationId xmlns:a16="http://schemas.microsoft.com/office/drawing/2014/main" id="{81AB5BFB-8B45-8C4C-52AD-E917E9B2AD34}"/>
              </a:ext>
            </a:extLst>
          </p:cNvPr>
          <p:cNvSpPr txBox="1"/>
          <p:nvPr/>
        </p:nvSpPr>
        <p:spPr>
          <a:xfrm>
            <a:off x="7865938" y="2388368"/>
            <a:ext cx="636713" cy="2168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B4D4F"/>
                </a:solidFill>
                <a:effectLst/>
                <a:uLnTx/>
                <a:uFillTx/>
                <a:latin typeface="Arial" panose="020B0604020202020204"/>
                <a:ea typeface="+mn-ea"/>
                <a:cs typeface="+mn-cs"/>
              </a:rPr>
              <a:t>PCN 2</a:t>
            </a:r>
          </a:p>
        </p:txBody>
      </p:sp>
      <p:sp>
        <p:nvSpPr>
          <p:cNvPr id="37" name="TextBox 36">
            <a:extLst>
              <a:ext uri="{FF2B5EF4-FFF2-40B4-BE49-F238E27FC236}">
                <a16:creationId xmlns:a16="http://schemas.microsoft.com/office/drawing/2014/main" id="{5F44C270-06A6-23C9-6884-6653E552B32F}"/>
              </a:ext>
            </a:extLst>
          </p:cNvPr>
          <p:cNvSpPr txBox="1"/>
          <p:nvPr/>
        </p:nvSpPr>
        <p:spPr>
          <a:xfrm>
            <a:off x="8860546" y="2394428"/>
            <a:ext cx="636713" cy="2168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B4D4F"/>
                </a:solidFill>
                <a:effectLst/>
                <a:uLnTx/>
                <a:uFillTx/>
                <a:latin typeface="Arial" panose="020B0604020202020204"/>
                <a:ea typeface="+mn-ea"/>
                <a:cs typeface="+mn-cs"/>
              </a:rPr>
              <a:t>PCN 3</a:t>
            </a:r>
          </a:p>
        </p:txBody>
      </p:sp>
      <p:sp>
        <p:nvSpPr>
          <p:cNvPr id="41" name="TextBox 40">
            <a:extLst>
              <a:ext uri="{FF2B5EF4-FFF2-40B4-BE49-F238E27FC236}">
                <a16:creationId xmlns:a16="http://schemas.microsoft.com/office/drawing/2014/main" id="{92B3A3FD-D0DC-423A-2578-960A718A548A}"/>
              </a:ext>
            </a:extLst>
          </p:cNvPr>
          <p:cNvSpPr txBox="1"/>
          <p:nvPr/>
        </p:nvSpPr>
        <p:spPr bwMode="gray">
          <a:xfrm>
            <a:off x="2949706" y="4101142"/>
            <a:ext cx="813091" cy="21544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Cohort</a:t>
            </a:r>
          </a:p>
        </p:txBody>
      </p:sp>
      <p:sp>
        <p:nvSpPr>
          <p:cNvPr id="42" name="TextBox 41">
            <a:extLst>
              <a:ext uri="{FF2B5EF4-FFF2-40B4-BE49-F238E27FC236}">
                <a16:creationId xmlns:a16="http://schemas.microsoft.com/office/drawing/2014/main" id="{BAF4E276-8CDC-C4A7-169B-C7F04DF4CE24}"/>
              </a:ext>
            </a:extLst>
          </p:cNvPr>
          <p:cNvSpPr txBox="1"/>
          <p:nvPr/>
        </p:nvSpPr>
        <p:spPr bwMode="gray">
          <a:xfrm>
            <a:off x="3950183" y="4102777"/>
            <a:ext cx="813091" cy="21544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1" u="none" strike="noStrike" kern="1200" cap="none" spc="0" normalizeH="0" baseline="0" noProof="0">
                <a:ln>
                  <a:noFill/>
                </a:ln>
                <a:solidFill>
                  <a:srgbClr val="FFFFFF"/>
                </a:solidFill>
                <a:effectLst/>
                <a:uLnTx/>
                <a:uFillTx/>
                <a:latin typeface="Arial" panose="020B0604020202020204"/>
                <a:ea typeface="+mn-ea"/>
                <a:cs typeface="+mn-cs"/>
              </a:rPr>
              <a:t>Control</a:t>
            </a:r>
          </a:p>
        </p:txBody>
      </p:sp>
      <p:sp>
        <p:nvSpPr>
          <p:cNvPr id="43" name="TextBox 42">
            <a:extLst>
              <a:ext uri="{FF2B5EF4-FFF2-40B4-BE49-F238E27FC236}">
                <a16:creationId xmlns:a16="http://schemas.microsoft.com/office/drawing/2014/main" id="{555D4327-ECA5-9A80-E5E6-F3CCECB9CD6F}"/>
              </a:ext>
            </a:extLst>
          </p:cNvPr>
          <p:cNvSpPr txBox="1"/>
          <p:nvPr/>
        </p:nvSpPr>
        <p:spPr bwMode="gray">
          <a:xfrm>
            <a:off x="6873762" y="4650756"/>
            <a:ext cx="813091" cy="21544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1" u="none" strike="noStrike" kern="1200" cap="none" spc="0" normalizeH="0" baseline="0" noProof="0">
                <a:ln>
                  <a:noFill/>
                </a:ln>
                <a:solidFill>
                  <a:srgbClr val="FFFFFF"/>
                </a:solidFill>
                <a:effectLst/>
                <a:uLnTx/>
                <a:uFillTx/>
                <a:latin typeface="Arial" panose="020B0604020202020204"/>
                <a:ea typeface="+mn-ea"/>
                <a:cs typeface="+mn-cs"/>
              </a:rPr>
              <a:t>Control</a:t>
            </a:r>
          </a:p>
        </p:txBody>
      </p:sp>
      <p:sp>
        <p:nvSpPr>
          <p:cNvPr id="44" name="TextBox 43">
            <a:extLst>
              <a:ext uri="{FF2B5EF4-FFF2-40B4-BE49-F238E27FC236}">
                <a16:creationId xmlns:a16="http://schemas.microsoft.com/office/drawing/2014/main" id="{207AD586-2ADB-A632-DC4D-27BC26EA34B8}"/>
              </a:ext>
            </a:extLst>
          </p:cNvPr>
          <p:cNvSpPr txBox="1"/>
          <p:nvPr/>
        </p:nvSpPr>
        <p:spPr bwMode="gray">
          <a:xfrm>
            <a:off x="6833210" y="4102777"/>
            <a:ext cx="813091" cy="21544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Cohort</a:t>
            </a:r>
          </a:p>
        </p:txBody>
      </p:sp>
      <p:sp>
        <p:nvSpPr>
          <p:cNvPr id="45" name="TextBox 44">
            <a:extLst>
              <a:ext uri="{FF2B5EF4-FFF2-40B4-BE49-F238E27FC236}">
                <a16:creationId xmlns:a16="http://schemas.microsoft.com/office/drawing/2014/main" id="{2525DA5E-5CE5-5358-8DF5-CC8851803968}"/>
              </a:ext>
            </a:extLst>
          </p:cNvPr>
          <p:cNvSpPr txBox="1"/>
          <p:nvPr/>
        </p:nvSpPr>
        <p:spPr bwMode="gray">
          <a:xfrm>
            <a:off x="6833210" y="3518482"/>
            <a:ext cx="813091" cy="21544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1" u="none" strike="noStrike" kern="1200" cap="none" spc="0" normalizeH="0" baseline="0" noProof="0">
                <a:ln>
                  <a:noFill/>
                </a:ln>
                <a:solidFill>
                  <a:srgbClr val="FFFFFF"/>
                </a:solidFill>
                <a:effectLst/>
                <a:uLnTx/>
                <a:uFillTx/>
                <a:latin typeface="Arial" panose="020B0604020202020204"/>
                <a:ea typeface="+mn-ea"/>
                <a:cs typeface="+mn-cs"/>
              </a:rPr>
              <a:t>Control</a:t>
            </a:r>
          </a:p>
        </p:txBody>
      </p:sp>
      <p:sp>
        <p:nvSpPr>
          <p:cNvPr id="46" name="TextBox 45">
            <a:extLst>
              <a:ext uri="{FF2B5EF4-FFF2-40B4-BE49-F238E27FC236}">
                <a16:creationId xmlns:a16="http://schemas.microsoft.com/office/drawing/2014/main" id="{08199CAB-C76E-0A7B-A11B-067CD131C771}"/>
              </a:ext>
            </a:extLst>
          </p:cNvPr>
          <p:cNvSpPr txBox="1"/>
          <p:nvPr/>
        </p:nvSpPr>
        <p:spPr bwMode="gray">
          <a:xfrm>
            <a:off x="4986386" y="4108681"/>
            <a:ext cx="813091" cy="21544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1" u="none" strike="noStrike" kern="1200" cap="none" spc="0" normalizeH="0" baseline="0" noProof="0">
                <a:ln>
                  <a:noFill/>
                </a:ln>
                <a:solidFill>
                  <a:srgbClr val="FFFFFF"/>
                </a:solidFill>
                <a:effectLst/>
                <a:uLnTx/>
                <a:uFillTx/>
                <a:latin typeface="Arial" panose="020B0604020202020204"/>
                <a:ea typeface="+mn-ea"/>
                <a:cs typeface="+mn-cs"/>
              </a:rPr>
              <a:t>Control</a:t>
            </a:r>
          </a:p>
        </p:txBody>
      </p:sp>
      <p:sp>
        <p:nvSpPr>
          <p:cNvPr id="55" name="TextBox 54">
            <a:extLst>
              <a:ext uri="{FF2B5EF4-FFF2-40B4-BE49-F238E27FC236}">
                <a16:creationId xmlns:a16="http://schemas.microsoft.com/office/drawing/2014/main" id="{0C82A6E5-96C6-333E-A0DB-CF18E738C114}"/>
              </a:ext>
            </a:extLst>
          </p:cNvPr>
          <p:cNvSpPr txBox="1"/>
          <p:nvPr/>
        </p:nvSpPr>
        <p:spPr bwMode="gray">
          <a:xfrm>
            <a:off x="457198" y="5313074"/>
            <a:ext cx="1939161" cy="43088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Potential challenges and opportunities:</a:t>
            </a:r>
          </a:p>
        </p:txBody>
      </p:sp>
      <p:sp>
        <p:nvSpPr>
          <p:cNvPr id="56" name="TextBox 55">
            <a:extLst>
              <a:ext uri="{FF2B5EF4-FFF2-40B4-BE49-F238E27FC236}">
                <a16:creationId xmlns:a16="http://schemas.microsoft.com/office/drawing/2014/main" id="{D343E68C-6443-3284-7557-CEB65ECCE3C6}"/>
              </a:ext>
            </a:extLst>
          </p:cNvPr>
          <p:cNvSpPr txBox="1"/>
          <p:nvPr/>
        </p:nvSpPr>
        <p:spPr bwMode="gray">
          <a:xfrm>
            <a:off x="2821126" y="5313074"/>
            <a:ext cx="3215464" cy="559127"/>
          </a:xfrm>
          <a:prstGeom prst="rect">
            <a:avLst/>
          </a:prstGeom>
          <a:noFill/>
        </p:spPr>
        <p:txBody>
          <a:bodyPr vert="horz" wrap="square" lIns="0" tIns="0" rIns="0" bIns="0" rtlCol="0">
            <a:spAutoFit/>
          </a:bodyPr>
          <a:lstStyle/>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Not viable with whole system intervention</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Relies on having data for non-participating PCNs or geographies</a:t>
            </a:r>
          </a:p>
        </p:txBody>
      </p:sp>
      <p:sp>
        <p:nvSpPr>
          <p:cNvPr id="57" name="TextBox 56">
            <a:extLst>
              <a:ext uri="{FF2B5EF4-FFF2-40B4-BE49-F238E27FC236}">
                <a16:creationId xmlns:a16="http://schemas.microsoft.com/office/drawing/2014/main" id="{06342ABD-B1C8-4F4A-9E91-5CD3117FBA42}"/>
              </a:ext>
            </a:extLst>
          </p:cNvPr>
          <p:cNvSpPr txBox="1"/>
          <p:nvPr/>
        </p:nvSpPr>
        <p:spPr bwMode="gray">
          <a:xfrm>
            <a:off x="6817568" y="5313074"/>
            <a:ext cx="4043094" cy="728405"/>
          </a:xfrm>
          <a:prstGeom prst="rect">
            <a:avLst/>
          </a:prstGeom>
          <a:solidFill>
            <a:schemeClr val="bg1"/>
          </a:solidFill>
        </p:spPr>
        <p:txBody>
          <a:bodyPr vert="horz" wrap="square" lIns="0" tIns="0" rIns="0" bIns="0" rtlCol="0" anchor="t">
            <a:spAutoFit/>
          </a:bodyPr>
          <a:lstStyle/>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Potential variance between control and intervention groups in terms of demographics and health risk</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Important to compare the make-up of control and intervention groups closely to ensure they are comparable</a:t>
            </a:r>
            <a:endParaRPr kumimoji="0" lang="en-GB" sz="1100" b="0" i="0" u="none" strike="noStrike" kern="1200" cap="none" spc="0" normalizeH="0" baseline="0" noProof="0">
              <a:ln>
                <a:noFill/>
              </a:ln>
              <a:solidFill>
                <a:srgbClr val="4B4D4F"/>
              </a:solidFill>
              <a:effectLst/>
              <a:uLnTx/>
              <a:uFillTx/>
              <a:latin typeface="Arial" panose="020B0604020202020204"/>
              <a:ea typeface="+mn-ea"/>
              <a:cs typeface="Arial"/>
            </a:endParaRPr>
          </a:p>
        </p:txBody>
      </p:sp>
      <p:sp>
        <p:nvSpPr>
          <p:cNvPr id="4" name="Rectangle 3">
            <a:hlinkClick r:id="rId2" action="ppaction://hlinksldjump"/>
            <a:extLst>
              <a:ext uri="{FF2B5EF4-FFF2-40B4-BE49-F238E27FC236}">
                <a16:creationId xmlns:a16="http://schemas.microsoft.com/office/drawing/2014/main" id="{C9D7FDE8-E65D-2C08-C937-80CB8804FBE6}"/>
              </a:ext>
            </a:extLst>
          </p:cNvPr>
          <p:cNvSpPr/>
          <p:nvPr/>
        </p:nvSpPr>
        <p:spPr bwMode="gray">
          <a:xfrm>
            <a:off x="10462990"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Rectangle 22">
            <a:hlinkClick r:id="rId3" action="ppaction://hlinksldjump"/>
            <a:extLst>
              <a:ext uri="{FF2B5EF4-FFF2-40B4-BE49-F238E27FC236}">
                <a16:creationId xmlns:a16="http://schemas.microsoft.com/office/drawing/2014/main" id="{926AF178-7EA6-523F-C485-BAC20AD3F392}"/>
              </a:ext>
            </a:extLst>
          </p:cNvPr>
          <p:cNvSpPr/>
          <p:nvPr/>
        </p:nvSpPr>
        <p:spPr bwMode="gray">
          <a:xfrm>
            <a:off x="11298971"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070464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69D195-0619-4B98-9EE5-207C1E608A9F}"/>
              </a:ext>
            </a:extLst>
          </p:cNvPr>
          <p:cNvSpPr>
            <a:spLocks noGrp="1"/>
          </p:cNvSpPr>
          <p:nvPr>
            <p:ph type="title"/>
          </p:nvPr>
        </p:nvSpPr>
        <p:spPr/>
        <p:txBody>
          <a:bodyPr/>
          <a:lstStyle/>
          <a:p>
            <a:r>
              <a:rPr lang="en-GB"/>
              <a:t>Generating matched cohorts</a:t>
            </a:r>
          </a:p>
        </p:txBody>
      </p:sp>
      <p:sp>
        <p:nvSpPr>
          <p:cNvPr id="3" name="Rectangle 2">
            <a:extLst>
              <a:ext uri="{FF2B5EF4-FFF2-40B4-BE49-F238E27FC236}">
                <a16:creationId xmlns:a16="http://schemas.microsoft.com/office/drawing/2014/main" id="{CF180EB9-C5CC-4B3C-BEFB-A75E32D509DD}"/>
              </a:ext>
            </a:extLst>
          </p:cNvPr>
          <p:cNvSpPr/>
          <p:nvPr/>
        </p:nvSpPr>
        <p:spPr>
          <a:xfrm>
            <a:off x="2373745" y="6108850"/>
            <a:ext cx="8060268" cy="230832"/>
          </a:xfrm>
          <a:prstGeom prst="rect">
            <a:avLst/>
          </a:prstGeom>
        </p:spPr>
        <p:txBody>
          <a:bodyPr wrap="square">
            <a:spAutoFit/>
          </a:bodyPr>
          <a:lstStyle/>
          <a:p>
            <a:r>
              <a:rPr lang="en-GB" sz="900"/>
              <a:t>Image source: </a:t>
            </a:r>
            <a:r>
              <a:rPr lang="en-GB" sz="900">
                <a:hlinkClick r:id="rId2"/>
              </a:rPr>
              <a:t>https://www.nuffieldtrust.org.uk/research/evaluation-of-complex-health-and-care-interventions-using-retrospective-matched-control-methods</a:t>
            </a:r>
            <a:r>
              <a:rPr lang="en-GB" sz="900"/>
              <a:t> </a:t>
            </a:r>
          </a:p>
        </p:txBody>
      </p:sp>
      <p:pic>
        <p:nvPicPr>
          <p:cNvPr id="4" name="Picture 3">
            <a:extLst>
              <a:ext uri="{FF2B5EF4-FFF2-40B4-BE49-F238E27FC236}">
                <a16:creationId xmlns:a16="http://schemas.microsoft.com/office/drawing/2014/main" id="{40FDDF32-53B8-4F65-8E18-D8E2EE30E58B}"/>
              </a:ext>
            </a:extLst>
          </p:cNvPr>
          <p:cNvPicPr>
            <a:picLocks noChangeAspect="1"/>
          </p:cNvPicPr>
          <p:nvPr/>
        </p:nvPicPr>
        <p:blipFill>
          <a:blip r:embed="rId3"/>
          <a:stretch>
            <a:fillRect/>
          </a:stretch>
        </p:blipFill>
        <p:spPr>
          <a:xfrm>
            <a:off x="4182239" y="1843133"/>
            <a:ext cx="7624800" cy="3971736"/>
          </a:xfrm>
          <a:prstGeom prst="rect">
            <a:avLst/>
          </a:prstGeom>
        </p:spPr>
      </p:pic>
      <p:sp>
        <p:nvSpPr>
          <p:cNvPr id="6" name="TextBox 5">
            <a:extLst>
              <a:ext uri="{FF2B5EF4-FFF2-40B4-BE49-F238E27FC236}">
                <a16:creationId xmlns:a16="http://schemas.microsoft.com/office/drawing/2014/main" id="{5786AB82-6328-4C2B-9D9B-CC39AC0621E1}"/>
              </a:ext>
            </a:extLst>
          </p:cNvPr>
          <p:cNvSpPr txBox="1"/>
          <p:nvPr/>
        </p:nvSpPr>
        <p:spPr bwMode="gray">
          <a:xfrm>
            <a:off x="457199" y="1843133"/>
            <a:ext cx="3464352" cy="2133020"/>
          </a:xfrm>
          <a:prstGeom prst="rect">
            <a:avLst/>
          </a:prstGeom>
          <a:solidFill>
            <a:schemeClr val="bg2">
              <a:alpha val="70980"/>
            </a:schemeClr>
          </a:solidFill>
          <a:ln>
            <a:solidFill>
              <a:schemeClr val="bg1"/>
            </a:solidFill>
          </a:ln>
        </p:spPr>
        <p:txBody>
          <a:bodyPr vert="horz" wrap="square" lIns="91440" tIns="91440" rIns="91440" bIns="91440" rtlCol="0">
            <a:noAutofit/>
          </a:bodyPr>
          <a:lstStyle/>
          <a:p>
            <a:pPr algn="l">
              <a:spcBef>
                <a:spcPts val="600"/>
              </a:spcBef>
            </a:pPr>
            <a:r>
              <a:rPr lang="en-GB" sz="1400" b="1">
                <a:solidFill>
                  <a:schemeClr val="accent6"/>
                </a:solidFill>
              </a:rPr>
              <a:t>Potential challenges and opportunities:</a:t>
            </a:r>
          </a:p>
          <a:p>
            <a:pPr marL="285750" indent="-285750" algn="l">
              <a:spcBef>
                <a:spcPts val="600"/>
              </a:spcBef>
              <a:buFont typeface="Arial" panose="020B0604020202020204" pitchFamily="34" charset="0"/>
              <a:buChar char="•"/>
            </a:pPr>
            <a:r>
              <a:rPr lang="en-GB" sz="1400">
                <a:solidFill>
                  <a:schemeClr val="accent6"/>
                </a:solidFill>
              </a:rPr>
              <a:t>Technically difficult – skillset required to run matched cohort models</a:t>
            </a:r>
          </a:p>
          <a:p>
            <a:pPr marL="285750" indent="-285750" algn="l">
              <a:spcBef>
                <a:spcPts val="600"/>
              </a:spcBef>
              <a:buFont typeface="Arial" panose="020B0604020202020204" pitchFamily="34" charset="0"/>
              <a:buChar char="•"/>
            </a:pPr>
            <a:r>
              <a:rPr lang="en-GB" sz="1400">
                <a:solidFill>
                  <a:schemeClr val="accent6"/>
                </a:solidFill>
              </a:rPr>
              <a:t>Relies on having high quality whole-ICS data</a:t>
            </a:r>
          </a:p>
          <a:p>
            <a:pPr marL="285750" indent="-285750" algn="l">
              <a:spcBef>
                <a:spcPts val="600"/>
              </a:spcBef>
              <a:buFont typeface="Arial" panose="020B0604020202020204" pitchFamily="34" charset="0"/>
              <a:buChar char="•"/>
            </a:pPr>
            <a:r>
              <a:rPr lang="en-GB" sz="1400">
                <a:solidFill>
                  <a:schemeClr val="accent6"/>
                </a:solidFill>
              </a:rPr>
              <a:t>Once it has been done, this technique is repeatable</a:t>
            </a:r>
          </a:p>
        </p:txBody>
      </p:sp>
      <p:pic>
        <p:nvPicPr>
          <p:cNvPr id="8" name="Picture 7">
            <a:extLst>
              <a:ext uri="{FF2B5EF4-FFF2-40B4-BE49-F238E27FC236}">
                <a16:creationId xmlns:a16="http://schemas.microsoft.com/office/drawing/2014/main" id="{FBB061C3-4600-4FB4-9168-3BB4EE68FF71}"/>
              </a:ext>
            </a:extLst>
          </p:cNvPr>
          <p:cNvPicPr>
            <a:picLocks noChangeAspect="1"/>
          </p:cNvPicPr>
          <p:nvPr/>
        </p:nvPicPr>
        <p:blipFill>
          <a:blip r:embed="rId4"/>
          <a:stretch>
            <a:fillRect/>
          </a:stretch>
        </p:blipFill>
        <p:spPr>
          <a:xfrm>
            <a:off x="754037" y="4003042"/>
            <a:ext cx="2870676" cy="1911811"/>
          </a:xfrm>
          <a:prstGeom prst="rect">
            <a:avLst/>
          </a:prstGeom>
        </p:spPr>
      </p:pic>
    </p:spTree>
    <p:extLst>
      <p:ext uri="{BB962C8B-B14F-4D97-AF65-F5344CB8AC3E}">
        <p14:creationId xmlns:p14="http://schemas.microsoft.com/office/powerpoint/2010/main" val="23963475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lowchart: Process 3">
            <a:extLst>
              <a:ext uri="{FF2B5EF4-FFF2-40B4-BE49-F238E27FC236}">
                <a16:creationId xmlns:a16="http://schemas.microsoft.com/office/drawing/2014/main" id="{2277717C-88BC-696D-35BA-0EF91E673C7E}"/>
              </a:ext>
            </a:extLst>
          </p:cNvPr>
          <p:cNvSpPr/>
          <p:nvPr/>
        </p:nvSpPr>
        <p:spPr bwMode="gray">
          <a:xfrm>
            <a:off x="254326" y="990902"/>
            <a:ext cx="1865448" cy="1569660"/>
          </a:xfrm>
          <a:prstGeom prst="flowChartProcess">
            <a:avLst/>
          </a:prstGeom>
          <a:solidFill>
            <a:schemeClr val="bg2"/>
          </a:solidFill>
          <a:ln cap="rnd">
            <a:solidFill>
              <a:schemeClr val="bg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Experimental Design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randomised in intervention group and control group selection)</a:t>
            </a:r>
          </a:p>
        </p:txBody>
      </p:sp>
      <p:grpSp>
        <p:nvGrpSpPr>
          <p:cNvPr id="14" name="Group 13">
            <a:extLst>
              <a:ext uri="{FF2B5EF4-FFF2-40B4-BE49-F238E27FC236}">
                <a16:creationId xmlns:a16="http://schemas.microsoft.com/office/drawing/2014/main" id="{62FBE662-BF07-5A5C-BF27-692A729B0DE0}"/>
              </a:ext>
            </a:extLst>
          </p:cNvPr>
          <p:cNvGrpSpPr/>
          <p:nvPr/>
        </p:nvGrpSpPr>
        <p:grpSpPr>
          <a:xfrm>
            <a:off x="1410398" y="2234904"/>
            <a:ext cx="554673" cy="162038"/>
            <a:chOff x="574585" y="5685302"/>
            <a:chExt cx="554673" cy="162038"/>
          </a:xfrm>
        </p:grpSpPr>
        <p:sp>
          <p:nvSpPr>
            <p:cNvPr id="15" name="Freeform 14">
              <a:hlinkClick r:id="" action="ppaction://noaction"/>
              <a:extLst>
                <a:ext uri="{FF2B5EF4-FFF2-40B4-BE49-F238E27FC236}">
                  <a16:creationId xmlns:a16="http://schemas.microsoft.com/office/drawing/2014/main" id="{9408FDCC-B297-2AD6-4684-3B4651AC2C05}"/>
                </a:ext>
              </a:extLst>
            </p:cNvPr>
            <p:cNvSpPr/>
            <p:nvPr/>
          </p:nvSpPr>
          <p:spPr bwMode="gray">
            <a:xfrm>
              <a:off x="574585" y="5685302"/>
              <a:ext cx="554673"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extBox 15">
              <a:hlinkClick r:id="" action="ppaction://noaction"/>
              <a:extLst>
                <a:ext uri="{FF2B5EF4-FFF2-40B4-BE49-F238E27FC236}">
                  <a16:creationId xmlns:a16="http://schemas.microsoft.com/office/drawing/2014/main" id="{5F9A6359-0D3A-E9D1-F0EB-EB0F0E89BA2F}"/>
                </a:ext>
              </a:extLst>
            </p:cNvPr>
            <p:cNvSpPr txBox="1"/>
            <p:nvPr/>
          </p:nvSpPr>
          <p:spPr bwMode="gray">
            <a:xfrm>
              <a:off x="606654" y="5694542"/>
              <a:ext cx="500290"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Glossary</a:t>
              </a:r>
            </a:p>
          </p:txBody>
        </p:sp>
      </p:grpSp>
      <p:sp>
        <p:nvSpPr>
          <p:cNvPr id="17" name="TextBox 16">
            <a:extLst>
              <a:ext uri="{FF2B5EF4-FFF2-40B4-BE49-F238E27FC236}">
                <a16:creationId xmlns:a16="http://schemas.microsoft.com/office/drawing/2014/main" id="{C9E1831D-D0A0-E9BA-52AF-63EFF0C809B7}"/>
              </a:ext>
            </a:extLst>
          </p:cNvPr>
          <p:cNvSpPr txBox="1"/>
          <p:nvPr/>
        </p:nvSpPr>
        <p:spPr bwMode="gray">
          <a:xfrm>
            <a:off x="2365041" y="996559"/>
            <a:ext cx="2357430" cy="1231106"/>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What is it?</a:t>
            </a:r>
            <a:endParaRPr kumimoji="0" lang="en-GB" sz="1400" b="0" i="0" u="none" strike="noStrike" kern="1200" cap="none" spc="0" normalizeH="0" baseline="0" noProof="0">
              <a:ln>
                <a:noFill/>
              </a:ln>
              <a:solidFill>
                <a:srgbClr val="00267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Known as a randomised controlled trial, experimental evaluation involves random allocation of individuals to the intervention or the control group.</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83B425B1-C03E-5A74-238E-DAA275509993}"/>
              </a:ext>
            </a:extLst>
          </p:cNvPr>
          <p:cNvSpPr txBox="1"/>
          <p:nvPr/>
        </p:nvSpPr>
        <p:spPr bwMode="gray">
          <a:xfrm>
            <a:off x="4967736" y="990902"/>
            <a:ext cx="6815291" cy="1359346"/>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How do you do it?</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Find people to enrol in your study who meet your eligibility criteria</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Randomise this group to intervention or control (no intervention), or to two different interventions if you want to compare two options and it is not possible to have a control group</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rack and monitor outcomes between the two groups</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Analyse and test if outcomes are statistically significantly different between the two groups</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B2040835-F95F-64AA-1FD2-989F0B28E128}"/>
              </a:ext>
            </a:extLst>
          </p:cNvPr>
          <p:cNvSpPr/>
          <p:nvPr/>
        </p:nvSpPr>
        <p:spPr bwMode="gray">
          <a:xfrm>
            <a:off x="304179" y="3183039"/>
            <a:ext cx="1815595" cy="2476981"/>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CC447D17-CFCF-76B2-44D2-6867486A5221}"/>
              </a:ext>
            </a:extLst>
          </p:cNvPr>
          <p:cNvSpPr txBox="1"/>
          <p:nvPr/>
        </p:nvSpPr>
        <p:spPr bwMode="gray">
          <a:xfrm>
            <a:off x="411546" y="3324825"/>
            <a:ext cx="1531211" cy="1862048"/>
          </a:xfrm>
          <a:prstGeom prst="rect">
            <a:avLst/>
          </a:prstGeom>
          <a:solidFill>
            <a:schemeClr val="bg2"/>
          </a:solid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A practical exampl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Random assignment of individuals either to </a:t>
            </a:r>
            <a:r>
              <a:rPr kumimoji="0" lang="en-GB" sz="1100" b="0" i="0" u="none" strike="noStrike" kern="1200" cap="none" spc="0" normalizeH="0" baseline="0" noProof="0" err="1">
                <a:ln>
                  <a:noFill/>
                </a:ln>
                <a:solidFill>
                  <a:srgbClr val="002677"/>
                </a:solidFill>
                <a:effectLst/>
                <a:uLnTx/>
                <a:uFillTx/>
                <a:latin typeface="Arial" panose="020B0604020202020204"/>
                <a:ea typeface="+mn-ea"/>
                <a:cs typeface="+mn-cs"/>
              </a:rPr>
              <a:t>StopAdvisor</a:t>
            </a: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 (interactive website for smoking cessation) or an information-only website about smoking cessation.</a:t>
            </a:r>
          </a:p>
        </p:txBody>
      </p:sp>
      <p:graphicFrame>
        <p:nvGraphicFramePr>
          <p:cNvPr id="21" name="Table 20">
            <a:extLst>
              <a:ext uri="{FF2B5EF4-FFF2-40B4-BE49-F238E27FC236}">
                <a16:creationId xmlns:a16="http://schemas.microsoft.com/office/drawing/2014/main" id="{7E58609D-9A23-89C2-8040-4BFB028E1FE6}"/>
              </a:ext>
            </a:extLst>
          </p:cNvPr>
          <p:cNvGraphicFramePr>
            <a:graphicFrameLocks noGrp="1"/>
          </p:cNvGraphicFramePr>
          <p:nvPr/>
        </p:nvGraphicFramePr>
        <p:xfrm>
          <a:off x="2365040" y="3183039"/>
          <a:ext cx="9186493" cy="2476981"/>
        </p:xfrm>
        <a:graphic>
          <a:graphicData uri="http://schemas.openxmlformats.org/drawingml/2006/table">
            <a:tbl>
              <a:tblPr firstRow="1" bandRow="1">
                <a:tableStyleId>{5940675A-B579-460E-94D1-54222C63F5DA}</a:tableStyleId>
              </a:tblPr>
              <a:tblGrid>
                <a:gridCol w="4596398">
                  <a:extLst>
                    <a:ext uri="{9D8B030D-6E8A-4147-A177-3AD203B41FA5}">
                      <a16:colId xmlns:a16="http://schemas.microsoft.com/office/drawing/2014/main" val="2815822586"/>
                    </a:ext>
                  </a:extLst>
                </a:gridCol>
                <a:gridCol w="4590095">
                  <a:extLst>
                    <a:ext uri="{9D8B030D-6E8A-4147-A177-3AD203B41FA5}">
                      <a16:colId xmlns:a16="http://schemas.microsoft.com/office/drawing/2014/main" val="3081556938"/>
                    </a:ext>
                  </a:extLst>
                </a:gridCol>
              </a:tblGrid>
              <a:tr h="3103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bg1"/>
                          </a:solidFill>
                        </a:rPr>
                        <a:t>Advantages</a:t>
                      </a:r>
                    </a:p>
                  </a:txBody>
                  <a:tcPr>
                    <a:lnB w="12700" cmpd="sng">
                      <a:noFill/>
                    </a:lnB>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bg1"/>
                          </a:solidFill>
                        </a:rPr>
                        <a:t>Disadvantages</a:t>
                      </a:r>
                    </a:p>
                  </a:txBody>
                  <a:tcPr>
                    <a:lnB w="12700" cmpd="sng">
                      <a:noFill/>
                    </a:lnB>
                    <a:solidFill>
                      <a:schemeClr val="accent6"/>
                    </a:solidFill>
                  </a:tcPr>
                </a:tc>
                <a:extLst>
                  <a:ext uri="{0D108BD9-81ED-4DB2-BD59-A6C34878D82A}">
                    <a16:rowId xmlns:a16="http://schemas.microsoft.com/office/drawing/2014/main" val="3558527275"/>
                  </a:ext>
                </a:extLst>
              </a:tr>
              <a:tr h="2166587">
                <a:tc>
                  <a:txBody>
                    <a:bodyPr/>
                    <a:lstStyle/>
                    <a:p>
                      <a:pPr marL="285750" indent="-285750">
                        <a:spcAft>
                          <a:spcPts val="600"/>
                        </a:spcAft>
                        <a:buFont typeface="Arial" panose="020B0604020202020204" pitchFamily="34" charset="0"/>
                        <a:buChar char="•"/>
                      </a:pPr>
                      <a:r>
                        <a:rPr lang="en-US" sz="1100"/>
                        <a:t>Random assignment of individuals to the intervention vs control group makes it more likely confounding variables affect each group equally</a:t>
                      </a:r>
                    </a:p>
                    <a:p>
                      <a:pPr marL="285750" indent="-285750">
                        <a:spcAft>
                          <a:spcPts val="600"/>
                        </a:spcAft>
                        <a:buFont typeface="Arial" panose="020B0604020202020204" pitchFamily="34" charset="0"/>
                        <a:buChar char="•"/>
                      </a:pPr>
                      <a:r>
                        <a:rPr lang="en-US" sz="1100"/>
                        <a:t>The effects of selection bias are reduced through </a:t>
                      </a:r>
                      <a:br>
                        <a:rPr lang="en-US" sz="1100"/>
                      </a:br>
                      <a:r>
                        <a:rPr lang="en-US" sz="1100"/>
                        <a:t>random allocation</a:t>
                      </a:r>
                    </a:p>
                    <a:p>
                      <a:pPr marL="285750" indent="-285750">
                        <a:spcAft>
                          <a:spcPts val="600"/>
                        </a:spcAft>
                        <a:buFont typeface="Arial" panose="020B0604020202020204" pitchFamily="34" charset="0"/>
                        <a:buChar char="•"/>
                      </a:pPr>
                      <a:r>
                        <a:rPr lang="en-US" sz="1100"/>
                        <a:t>You can compare two different interventions by having a </a:t>
                      </a:r>
                      <a:br>
                        <a:rPr lang="en-US" sz="1100"/>
                      </a:br>
                      <a:r>
                        <a:rPr lang="en-US" sz="1100"/>
                        <a:t>well- matched group of people randomly assigned to each</a:t>
                      </a:r>
                    </a:p>
                  </a:txBody>
                  <a:tcPr>
                    <a:lnL w="12700" cmpd="sng">
                      <a:noFill/>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CF9F4"/>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a:t>There are significant ethical concerns with assigning individuals to a control group who do not receive an intervention that may benefit them – ethics approval will be needed to procee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a:t>Seeking ethical approval can be time consuming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a:t>Evaluation requires more significant investment of resources compared to other design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a:t>Evaluation requires a larger number of participants in the groups being compared </a:t>
                      </a:r>
                    </a:p>
                  </a:txBody>
                  <a:tcP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CF9F4"/>
                    </a:solidFill>
                  </a:tcPr>
                </a:tc>
                <a:extLst>
                  <a:ext uri="{0D108BD9-81ED-4DB2-BD59-A6C34878D82A}">
                    <a16:rowId xmlns:a16="http://schemas.microsoft.com/office/drawing/2014/main" val="340835997"/>
                  </a:ext>
                </a:extLst>
              </a:tr>
            </a:tbl>
          </a:graphicData>
        </a:graphic>
      </p:graphicFrame>
      <p:sp>
        <p:nvSpPr>
          <p:cNvPr id="23" name="TextBox 22">
            <a:extLst>
              <a:ext uri="{FF2B5EF4-FFF2-40B4-BE49-F238E27FC236}">
                <a16:creationId xmlns:a16="http://schemas.microsoft.com/office/drawing/2014/main" id="{ABD2C40D-C7D4-E8D1-ED1D-0D5599800159}"/>
              </a:ext>
            </a:extLst>
          </p:cNvPr>
          <p:cNvSpPr txBox="1"/>
          <p:nvPr/>
        </p:nvSpPr>
        <p:spPr bwMode="gray">
          <a:xfrm>
            <a:off x="4648346" y="5861441"/>
            <a:ext cx="6903187" cy="21544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B4D4F"/>
                </a:solidFill>
                <a:effectLst/>
                <a:uLnTx/>
                <a:uFillTx/>
                <a:latin typeface="Arial" panose="020B0604020202020204"/>
                <a:ea typeface="+mn-ea"/>
                <a:cs typeface="+mn-cs"/>
                <a:hlinkClick r:id="rId2"/>
              </a:rPr>
              <a:t>https://www.gov.uk/guidance/randomised-controlled-trial-comparative-studies </a:t>
            </a:r>
            <a:endParaRPr kumimoji="0" lang="en-US" sz="8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2" name="Rectangle 1">
            <a:hlinkClick r:id="rId3" action="ppaction://hlinksldjump"/>
            <a:extLst>
              <a:ext uri="{FF2B5EF4-FFF2-40B4-BE49-F238E27FC236}">
                <a16:creationId xmlns:a16="http://schemas.microsoft.com/office/drawing/2014/main" id="{B494043E-178C-0E2B-452A-68035B2B2D7B}"/>
              </a:ext>
            </a:extLst>
          </p:cNvPr>
          <p:cNvSpPr/>
          <p:nvPr/>
        </p:nvSpPr>
        <p:spPr bwMode="gray">
          <a:xfrm>
            <a:off x="10462990"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Rectangle 2">
            <a:hlinkClick r:id="" action="ppaction://noaction"/>
            <a:extLst>
              <a:ext uri="{FF2B5EF4-FFF2-40B4-BE49-F238E27FC236}">
                <a16:creationId xmlns:a16="http://schemas.microsoft.com/office/drawing/2014/main" id="{4E3C87D0-934F-C660-8959-9187F8830CE6}"/>
              </a:ext>
            </a:extLst>
          </p:cNvPr>
          <p:cNvSpPr/>
          <p:nvPr/>
        </p:nvSpPr>
        <p:spPr bwMode="gray">
          <a:xfrm>
            <a:off x="11316726"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39410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111432-3A67-46AF-90B9-6EA5D9EE3E10}"/>
              </a:ext>
            </a:extLst>
          </p:cNvPr>
          <p:cNvSpPr>
            <a:spLocks noGrp="1"/>
          </p:cNvSpPr>
          <p:nvPr>
            <p:ph type="title"/>
          </p:nvPr>
        </p:nvSpPr>
        <p:spPr>
          <a:xfrm>
            <a:off x="640079" y="546931"/>
            <a:ext cx="9601200" cy="304699"/>
          </a:xfrm>
        </p:spPr>
        <p:txBody>
          <a:bodyPr wrap="square" anchor="t">
            <a:normAutofit/>
          </a:bodyPr>
          <a:lstStyle/>
          <a:p>
            <a:r>
              <a:rPr lang="en-GB"/>
              <a:t>Agenda</a:t>
            </a:r>
            <a:endParaRPr lang="en-GB">
              <a:highlight>
                <a:srgbClr val="FFFF00"/>
              </a:highlight>
            </a:endParaRPr>
          </a:p>
        </p:txBody>
      </p:sp>
      <p:graphicFrame>
        <p:nvGraphicFramePr>
          <p:cNvPr id="5" name="Content Placeholder 7">
            <a:extLst>
              <a:ext uri="{FF2B5EF4-FFF2-40B4-BE49-F238E27FC236}">
                <a16:creationId xmlns:a16="http://schemas.microsoft.com/office/drawing/2014/main" id="{416F253E-86A2-4EC3-87C8-A3D626B36ADC}"/>
              </a:ext>
            </a:extLst>
          </p:cNvPr>
          <p:cNvGraphicFramePr>
            <a:graphicFrameLocks/>
          </p:cNvGraphicFramePr>
          <p:nvPr>
            <p:extLst>
              <p:ext uri="{D42A27DB-BD31-4B8C-83A1-F6EECF244321}">
                <p14:modId xmlns:p14="http://schemas.microsoft.com/office/powerpoint/2010/main" val="1675414843"/>
              </p:ext>
            </p:extLst>
          </p:nvPr>
        </p:nvGraphicFramePr>
        <p:xfrm>
          <a:off x="640079" y="1099396"/>
          <a:ext cx="10874830" cy="4643431"/>
        </p:xfrm>
        <a:graphic>
          <a:graphicData uri="http://schemas.openxmlformats.org/drawingml/2006/table">
            <a:tbl>
              <a:tblPr firstRow="1" bandRow="1">
                <a:tableStyleId>{68D230F3-CF80-4859-8CE7-A43EE81993B5}</a:tableStyleId>
              </a:tblPr>
              <a:tblGrid>
                <a:gridCol w="1417476">
                  <a:extLst>
                    <a:ext uri="{9D8B030D-6E8A-4147-A177-3AD203B41FA5}">
                      <a16:colId xmlns:a16="http://schemas.microsoft.com/office/drawing/2014/main" val="20000"/>
                    </a:ext>
                  </a:extLst>
                </a:gridCol>
                <a:gridCol w="6744700">
                  <a:extLst>
                    <a:ext uri="{9D8B030D-6E8A-4147-A177-3AD203B41FA5}">
                      <a16:colId xmlns:a16="http://schemas.microsoft.com/office/drawing/2014/main" val="20001"/>
                    </a:ext>
                  </a:extLst>
                </a:gridCol>
                <a:gridCol w="2712654">
                  <a:extLst>
                    <a:ext uri="{9D8B030D-6E8A-4147-A177-3AD203B41FA5}">
                      <a16:colId xmlns:a16="http://schemas.microsoft.com/office/drawing/2014/main" val="1847236233"/>
                    </a:ext>
                  </a:extLst>
                </a:gridCol>
              </a:tblGrid>
              <a:tr h="467744">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Time</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Item</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p>
                      <a:pPr algn="ctr"/>
                      <a:r>
                        <a:rPr lang="en-GB" sz="1800" b="1">
                          <a:solidFill>
                            <a:schemeClr val="tx1">
                              <a:lumMod val="50000"/>
                            </a:schemeClr>
                          </a:solidFill>
                        </a:rPr>
                        <a:t>Lead</a:t>
                      </a:r>
                      <a:endParaRPr lang="en-GB" sz="1800" b="1">
                        <a:solidFill>
                          <a:schemeClr val="tx1">
                            <a:lumMod val="50000"/>
                          </a:schemeClr>
                        </a:solidFill>
                        <a:latin typeface="+mn-lt"/>
                        <a:cs typeface="Arial" panose="020B0604020202020204" pitchFamily="34" charset="0"/>
                      </a:endParaRPr>
                    </a:p>
                  </a:txBody>
                  <a:tcPr marL="142606" marR="106955" marT="71303" marB="71303" anchor="ctr"/>
                </a:tc>
                <a:extLst>
                  <a:ext uri="{0D108BD9-81ED-4DB2-BD59-A6C34878D82A}">
                    <a16:rowId xmlns:a16="http://schemas.microsoft.com/office/drawing/2014/main" val="10000"/>
                  </a:ext>
                </a:extLst>
              </a:tr>
              <a:tr h="636011">
                <a:tc>
                  <a:txBody>
                    <a:bodyPr/>
                    <a:lstStyle/>
                    <a:p>
                      <a:pPr algn="ctr"/>
                      <a:r>
                        <a:rPr lang="en-US" sz="1400">
                          <a:solidFill>
                            <a:schemeClr val="tx1">
                              <a:lumMod val="50000"/>
                            </a:schemeClr>
                          </a:solidFill>
                        </a:rPr>
                        <a:t>(5 min)</a:t>
                      </a:r>
                      <a:endParaRPr lang="en-GB" sz="1400">
                        <a:solidFill>
                          <a:schemeClr val="tx1">
                            <a:lumMod val="50000"/>
                          </a:schemeClr>
                        </a:solidFill>
                        <a:latin typeface="+mn-lt"/>
                      </a:endParaRPr>
                    </a:p>
                  </a:txBody>
                  <a:tcPr marL="142606" marR="106955" marT="71303" marB="71303" anchor="ctr">
                    <a:solidFill>
                      <a:srgbClr val="00B0F0">
                        <a:alpha val="20000"/>
                      </a:srgbClr>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400" b="1" kern="1200">
                          <a:solidFill>
                            <a:schemeClr val="tx1">
                              <a:lumMod val="50000"/>
                            </a:schemeClr>
                          </a:solidFill>
                        </a:rPr>
                        <a:t>Welcome and objectives</a:t>
                      </a:r>
                      <a:endParaRPr lang="en-GB" sz="1400" b="1" kern="1200">
                        <a:solidFill>
                          <a:schemeClr val="tx1">
                            <a:lumMod val="50000"/>
                          </a:schemeClr>
                        </a:solidFill>
                        <a:latin typeface="+mn-lt"/>
                      </a:endParaRPr>
                    </a:p>
                  </a:txBody>
                  <a:tcPr marL="142606" marR="106955" marT="71303" marB="71303" anchor="ctr">
                    <a:solidFill>
                      <a:srgbClr val="00B0F0">
                        <a:alpha val="20000"/>
                      </a:srgb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p>
                  </a:txBody>
                  <a:tcPr marL="142606" marR="106955" marT="71303" marB="71303" anchor="ctr">
                    <a:solidFill>
                      <a:srgbClr val="00B0F0">
                        <a:alpha val="20000"/>
                      </a:srgbClr>
                    </a:solidFill>
                  </a:tcPr>
                </a:tc>
                <a:extLst>
                  <a:ext uri="{0D108BD9-81ED-4DB2-BD59-A6C34878D82A}">
                    <a16:rowId xmlns:a16="http://schemas.microsoft.com/office/drawing/2014/main" val="10001"/>
                  </a:ext>
                </a:extLst>
              </a:tr>
              <a:tr h="6360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15 min)</a:t>
                      </a: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i="0" kern="1200" baseline="0">
                          <a:solidFill>
                            <a:schemeClr val="tx1">
                              <a:lumMod val="50000"/>
                            </a:schemeClr>
                          </a:solidFill>
                          <a:latin typeface="Arial" panose="020B0604020202020204" pitchFamily="34" charset="0"/>
                          <a:cs typeface="Arial" panose="020B0604020202020204" pitchFamily="34" charset="0"/>
                        </a:rPr>
                        <a:t>Quantitative data to support analysis</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Joe Green, Optum</a:t>
                      </a:r>
                    </a:p>
                  </a:txBody>
                  <a:tcPr marL="142606" marR="106955" marT="71303" marB="71303" anchor="ctr">
                    <a:solidFill>
                      <a:srgbClr val="FBF9F4"/>
                    </a:solidFill>
                  </a:tcPr>
                </a:tc>
                <a:extLst>
                  <a:ext uri="{0D108BD9-81ED-4DB2-BD59-A6C34878D82A}">
                    <a16:rowId xmlns:a16="http://schemas.microsoft.com/office/drawing/2014/main" val="2372141458"/>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20 min)</a:t>
                      </a:r>
                    </a:p>
                  </a:txBody>
                  <a:tcPr marL="142606" marR="106955" marT="71303" marB="71303" anchor="ctr">
                    <a:solidFill>
                      <a:srgbClr val="FBF9F4">
                        <a:alpha val="20000"/>
                      </a:srgbClr>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i="0" kern="1200" baseline="0">
                          <a:solidFill>
                            <a:schemeClr val="tx1">
                              <a:lumMod val="50000"/>
                            </a:schemeClr>
                          </a:solidFill>
                          <a:latin typeface="Arial" panose="020B0604020202020204" pitchFamily="34" charset="0"/>
                          <a:cs typeface="Arial" panose="020B0604020202020204" pitchFamily="34" charset="0"/>
                        </a:rPr>
                        <a:t>Designing your quantitative evaluation</a:t>
                      </a:r>
                    </a:p>
                  </a:txBody>
                  <a:tcPr marL="142606" marR="106955" marT="71303" marB="71303" anchor="ctr">
                    <a:solidFill>
                      <a:srgbClr val="FBF9F4">
                        <a:alpha val="20000"/>
                      </a:srgb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Marcus</a:t>
                      </a:r>
                    </a:p>
                  </a:txBody>
                  <a:tcPr marL="142606" marR="106955" marT="71303" marB="71303" anchor="ctr">
                    <a:solidFill>
                      <a:srgbClr val="FBF9F4">
                        <a:alpha val="20000"/>
                      </a:srgbClr>
                    </a:solidFill>
                  </a:tcPr>
                </a:tc>
                <a:extLst>
                  <a:ext uri="{0D108BD9-81ED-4DB2-BD59-A6C34878D82A}">
                    <a16:rowId xmlns:a16="http://schemas.microsoft.com/office/drawing/2014/main" val="2748083053"/>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20 min)</a:t>
                      </a: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i="0" kern="1200" baseline="0">
                          <a:solidFill>
                            <a:schemeClr val="tx1">
                              <a:lumMod val="50000"/>
                            </a:schemeClr>
                          </a:solidFill>
                          <a:latin typeface="Arial" panose="020B0604020202020204" pitchFamily="34" charset="0"/>
                          <a:cs typeface="Arial" panose="020B0604020202020204" pitchFamily="34" charset="0"/>
                        </a:rPr>
                        <a:t>Correlation vs causation</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Joe</a:t>
                      </a:r>
                    </a:p>
                  </a:txBody>
                  <a:tcPr marL="142606" marR="106955" marT="71303" marB="71303" anchor="ctr">
                    <a:solidFill>
                      <a:srgbClr val="FBF9F4"/>
                    </a:solidFill>
                  </a:tcPr>
                </a:tc>
                <a:extLst>
                  <a:ext uri="{0D108BD9-81ED-4DB2-BD59-A6C34878D82A}">
                    <a16:rowId xmlns:a16="http://schemas.microsoft.com/office/drawing/2014/main" val="1661774282"/>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20 min)</a:t>
                      </a:r>
                    </a:p>
                  </a:txBody>
                  <a:tcPr marL="142606" marR="106955" marT="71303" marB="71303" anchor="ctr">
                    <a:solidFill>
                      <a:schemeClr val="bg1"/>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i="0" kern="1200" baseline="0">
                          <a:solidFill>
                            <a:schemeClr val="tx1">
                              <a:lumMod val="50000"/>
                            </a:schemeClr>
                          </a:solidFill>
                          <a:latin typeface="Arial" panose="020B0604020202020204" pitchFamily="34" charset="0"/>
                          <a:cs typeface="Arial" panose="020B0604020202020204" pitchFamily="34" charset="0"/>
                        </a:rPr>
                        <a:t>Measuring impact</a:t>
                      </a:r>
                    </a:p>
                  </a:txBody>
                  <a:tcPr marL="142606" marR="106955" marT="71303" marB="71303" anchor="ctr">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Marcus</a:t>
                      </a:r>
                    </a:p>
                  </a:txBody>
                  <a:tcPr marL="142606" marR="106955" marT="71303" marB="71303" anchor="ctr">
                    <a:solidFill>
                      <a:schemeClr val="bg1"/>
                    </a:solidFill>
                  </a:tcPr>
                </a:tc>
                <a:extLst>
                  <a:ext uri="{0D108BD9-81ED-4DB2-BD59-A6C34878D82A}">
                    <a16:rowId xmlns:a16="http://schemas.microsoft.com/office/drawing/2014/main" val="2834068150"/>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chemeClr val="tx1">
                              <a:lumMod val="50000"/>
                            </a:schemeClr>
                          </a:solidFill>
                          <a:effectLst/>
                          <a:uLnTx/>
                          <a:uFillTx/>
                        </a:rPr>
                        <a:t>(10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rgbClr val="FBF9F4"/>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457200" rtl="0" eaLnBrk="1" fontAlgn="auto" latinLnBrk="0" hangingPunct="1">
                        <a:lnSpc>
                          <a:spcPct val="100000"/>
                        </a:lnSpc>
                        <a:spcBef>
                          <a:spcPts val="300"/>
                        </a:spcBef>
                        <a:spcAft>
                          <a:spcPts val="300"/>
                        </a:spcAft>
                        <a:buClrTx/>
                        <a:buSzTx/>
                        <a:buFontTx/>
                        <a:buNone/>
                        <a:tabLst/>
                        <a:defRPr/>
                      </a:pPr>
                      <a:r>
                        <a:rPr lang="en-US" sz="1400" b="1">
                          <a:solidFill>
                            <a:schemeClr val="tx1">
                              <a:lumMod val="50000"/>
                            </a:schemeClr>
                          </a:solidFill>
                          <a:latin typeface="+mn-lt"/>
                        </a:rPr>
                        <a:t>Wrap up</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Final thoughts</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Next steps</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a:t>
                      </a:r>
                    </a:p>
                  </a:txBody>
                  <a:tcPr marL="142606" marR="106955" marT="71303" marB="71303" anchor="ctr">
                    <a:solidFill>
                      <a:srgbClr val="FBF9F4"/>
                    </a:solidFill>
                  </a:tcPr>
                </a:tc>
                <a:extLst>
                  <a:ext uri="{0D108BD9-81ED-4DB2-BD59-A6C34878D82A}">
                    <a16:rowId xmlns:a16="http://schemas.microsoft.com/office/drawing/2014/main" val="3925473701"/>
                  </a:ext>
                </a:extLst>
              </a:tr>
            </a:tbl>
          </a:graphicData>
        </a:graphic>
      </p:graphicFrame>
    </p:spTree>
    <p:extLst>
      <p:ext uri="{BB962C8B-B14F-4D97-AF65-F5344CB8AC3E}">
        <p14:creationId xmlns:p14="http://schemas.microsoft.com/office/powerpoint/2010/main" val="33351721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1E112CC-F5C7-5E43-8EAA-F554FEB5E453}" type="slidenum">
              <a:rPr kumimoji="0" lang="en-US" sz="200" b="0" i="0" u="none" strike="noStrike" kern="1200" cap="none" spc="0" normalizeH="0" baseline="0" noProof="0" smtClean="0">
                <a:ln>
                  <a:noFill/>
                </a:ln>
                <a:solidFill>
                  <a:srgbClr val="005EB8"/>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0</a:t>
            </a:fld>
            <a:endParaRPr kumimoji="0" lang="en-US" sz="200" b="0" i="0" u="none" strike="noStrike" kern="1200" cap="none" spc="0" normalizeH="0" baseline="0" noProof="0">
              <a:ln>
                <a:noFill/>
              </a:ln>
              <a:solidFill>
                <a:srgbClr val="005EB8"/>
              </a:solidFill>
              <a:effectLst/>
              <a:uLnTx/>
              <a:uFillTx/>
              <a:latin typeface="Arial" panose="020B0604020202020204"/>
              <a:ea typeface="+mn-ea"/>
              <a:cs typeface="+mn-cs"/>
            </a:endParaRPr>
          </a:p>
        </p:txBody>
      </p:sp>
      <p:sp>
        <p:nvSpPr>
          <p:cNvPr id="4" name="Title 3"/>
          <p:cNvSpPr>
            <a:spLocks noGrp="1"/>
          </p:cNvSpPr>
          <p:nvPr>
            <p:ph type="title"/>
          </p:nvPr>
        </p:nvSpPr>
        <p:spPr>
          <a:xfrm>
            <a:off x="616676" y="0"/>
            <a:ext cx="11768976" cy="731520"/>
          </a:xfrm>
        </p:spPr>
        <p:txBody>
          <a:bodyPr/>
          <a:lstStyle/>
          <a:p>
            <a:r>
              <a:rPr lang="en-US"/>
              <a:t>Discussion:</a:t>
            </a:r>
            <a:endParaRPr lang="en-GB"/>
          </a:p>
        </p:txBody>
      </p:sp>
      <p:sp>
        <p:nvSpPr>
          <p:cNvPr id="7" name="Text Placeholder 2"/>
          <p:cNvSpPr txBox="1">
            <a:spLocks/>
          </p:cNvSpPr>
          <p:nvPr/>
        </p:nvSpPr>
        <p:spPr>
          <a:xfrm>
            <a:off x="8782050" y="1589225"/>
            <a:ext cx="1005840" cy="388937"/>
          </a:xfrm>
          <a:prstGeom prst="rect">
            <a:avLst/>
          </a:prstGeom>
        </p:spPr>
        <p:txBody>
          <a:bodyPr anchor="ctr"/>
          <a:lstStyle>
            <a:lvl1pPr marL="0" indent="0" algn="l" defTabSz="457200" rtl="0" eaLnBrk="1" latinLnBrk="0" hangingPunct="1">
              <a:spcBef>
                <a:spcPct val="20000"/>
              </a:spcBef>
              <a:buClr>
                <a:schemeClr val="tx2"/>
              </a:buClr>
              <a:buFont typeface="Arial"/>
              <a:buNone/>
              <a:defRPr sz="1200" i="1"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12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12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12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FF612B"/>
              </a:buClr>
              <a:buSzTx/>
              <a:buFont typeface="Arial"/>
              <a:buNone/>
              <a:tabLst/>
              <a:defRPr/>
            </a:pPr>
            <a:r>
              <a:rPr lang="en-US">
                <a:solidFill>
                  <a:srgbClr val="5A5A5A"/>
                </a:solidFill>
                <a:latin typeface="Arial" panose="020B0604020202020204"/>
              </a:rPr>
              <a:t>5</a:t>
            </a:r>
            <a:r>
              <a:rPr kumimoji="0" lang="en-US" sz="1200" b="0" i="1" u="none" strike="noStrike" kern="1200" cap="none" spc="0" normalizeH="0" baseline="0" noProof="0">
                <a:ln>
                  <a:noFill/>
                </a:ln>
                <a:solidFill>
                  <a:srgbClr val="5A5A5A"/>
                </a:solidFill>
                <a:effectLst/>
                <a:uLnTx/>
                <a:uFillTx/>
                <a:latin typeface="Arial" panose="020B0604020202020204"/>
                <a:ea typeface="+mn-ea"/>
                <a:cs typeface="+mn-cs"/>
              </a:rPr>
              <a:t> mins</a:t>
            </a:r>
          </a:p>
        </p:txBody>
      </p:sp>
      <p:grpSp>
        <p:nvGrpSpPr>
          <p:cNvPr id="8" name="Group 7"/>
          <p:cNvGrpSpPr/>
          <p:nvPr/>
        </p:nvGrpSpPr>
        <p:grpSpPr>
          <a:xfrm>
            <a:off x="9574530" y="1560807"/>
            <a:ext cx="502920" cy="502920"/>
            <a:chOff x="5257799" y="990599"/>
            <a:chExt cx="502920" cy="502920"/>
          </a:xfrm>
        </p:grpSpPr>
        <p:sp>
          <p:nvSpPr>
            <p:cNvPr id="9" name="Oval 8"/>
            <p:cNvSpPr/>
            <p:nvPr userDrawn="1"/>
          </p:nvSpPr>
          <p:spPr>
            <a:xfrm>
              <a:off x="5257799" y="990599"/>
              <a:ext cx="502920" cy="502920"/>
            </a:xfrm>
            <a:prstGeom prst="ellipse">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Oval 9"/>
            <p:cNvSpPr/>
            <p:nvPr userDrawn="1"/>
          </p:nvSpPr>
          <p:spPr>
            <a:xfrm>
              <a:off x="5317235" y="1050035"/>
              <a:ext cx="384048" cy="384048"/>
            </a:xfrm>
            <a:prstGeom prst="ellipse">
              <a:avLst/>
            </a:prstGeom>
            <a:solidFill>
              <a:schemeClr val="tx2"/>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 name="Group 10"/>
            <p:cNvGrpSpPr/>
            <p:nvPr userDrawn="1"/>
          </p:nvGrpSpPr>
          <p:grpSpPr>
            <a:xfrm>
              <a:off x="5318669" y="1051469"/>
              <a:ext cx="381180" cy="381180"/>
              <a:chOff x="7274773" y="920278"/>
              <a:chExt cx="381180" cy="381180"/>
            </a:xfrm>
          </p:grpSpPr>
          <p:cxnSp>
            <p:nvCxnSpPr>
              <p:cNvPr id="17" name="Straight Connector 16"/>
              <p:cNvCxnSpPr/>
              <p:nvPr/>
            </p:nvCxnSpPr>
            <p:spPr>
              <a:xfrm>
                <a:off x="7274773" y="1110868"/>
                <a:ext cx="381180" cy="0"/>
              </a:xfrm>
              <a:prstGeom prst="line">
                <a:avLst/>
              </a:prstGeom>
              <a:noFill/>
              <a:ln w="9525" cap="flat" cmpd="sng" algn="ctr">
                <a:solidFill>
                  <a:srgbClr val="FFFFFF"/>
                </a:solidFill>
                <a:prstDash val="solid"/>
              </a:ln>
              <a:effectLst/>
            </p:spPr>
          </p:cxnSp>
          <p:cxnSp>
            <p:nvCxnSpPr>
              <p:cNvPr id="18" name="Straight Connector 17"/>
              <p:cNvCxnSpPr/>
              <p:nvPr/>
            </p:nvCxnSpPr>
            <p:spPr>
              <a:xfrm flipV="1">
                <a:off x="7465363" y="920278"/>
                <a:ext cx="0" cy="381180"/>
              </a:xfrm>
              <a:prstGeom prst="line">
                <a:avLst/>
              </a:prstGeom>
              <a:noFill/>
              <a:ln w="9525" cap="flat" cmpd="sng" algn="ctr">
                <a:solidFill>
                  <a:srgbClr val="FFFFFF"/>
                </a:solidFill>
                <a:prstDash val="solid"/>
              </a:ln>
              <a:effectLst/>
            </p:spPr>
          </p:cxnSp>
        </p:grpSp>
        <p:sp>
          <p:nvSpPr>
            <p:cNvPr id="12" name="Oval 11"/>
            <p:cNvSpPr/>
            <p:nvPr userDrawn="1"/>
          </p:nvSpPr>
          <p:spPr>
            <a:xfrm>
              <a:off x="5372099" y="1104899"/>
              <a:ext cx="274320" cy="274320"/>
            </a:xfrm>
            <a:prstGeom prst="ellipse">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3" name="Group 12"/>
            <p:cNvGrpSpPr/>
            <p:nvPr/>
          </p:nvGrpSpPr>
          <p:grpSpPr>
            <a:xfrm>
              <a:off x="5402383" y="1146368"/>
              <a:ext cx="217805" cy="133046"/>
              <a:chOff x="2173587" y="4641056"/>
              <a:chExt cx="264813" cy="161760"/>
            </a:xfrm>
          </p:grpSpPr>
          <p:cxnSp>
            <p:nvCxnSpPr>
              <p:cNvPr id="14" name="Straight Connector 13"/>
              <p:cNvCxnSpPr/>
              <p:nvPr/>
            </p:nvCxnSpPr>
            <p:spPr>
              <a:xfrm flipV="1">
                <a:off x="2257692" y="4641056"/>
                <a:ext cx="180708" cy="161760"/>
              </a:xfrm>
              <a:prstGeom prst="line">
                <a:avLst/>
              </a:prstGeom>
              <a:noFill/>
              <a:ln w="19050" cap="flat" cmpd="sng" algn="ctr">
                <a:solidFill>
                  <a:srgbClr val="FFFFFF"/>
                </a:solidFill>
                <a:prstDash val="solid"/>
              </a:ln>
              <a:effectLst/>
            </p:spPr>
          </p:cxnSp>
          <p:cxnSp>
            <p:nvCxnSpPr>
              <p:cNvPr id="15" name="Straight Connector 14"/>
              <p:cNvCxnSpPr/>
              <p:nvPr/>
            </p:nvCxnSpPr>
            <p:spPr>
              <a:xfrm flipH="1" flipV="1">
                <a:off x="2173587" y="4723876"/>
                <a:ext cx="105393" cy="32146"/>
              </a:xfrm>
              <a:prstGeom prst="line">
                <a:avLst/>
              </a:prstGeom>
              <a:noFill/>
              <a:ln w="19050" cap="flat" cmpd="sng" algn="ctr">
                <a:solidFill>
                  <a:srgbClr val="FFFFFF"/>
                </a:solidFill>
                <a:prstDash val="solid"/>
              </a:ln>
              <a:effectLst/>
            </p:spPr>
          </p:cxnSp>
          <p:sp>
            <p:nvSpPr>
              <p:cNvPr id="16" name="Oval 15"/>
              <p:cNvSpPr/>
              <p:nvPr/>
            </p:nvSpPr>
            <p:spPr bwMode="ltGray">
              <a:xfrm>
                <a:off x="2277047" y="4742184"/>
                <a:ext cx="45719" cy="45719"/>
              </a:xfrm>
              <a:prstGeom prst="ellipse">
                <a:avLst/>
              </a:prstGeom>
              <a:solidFill>
                <a:srgbClr val="005EB8"/>
              </a:solidFill>
              <a:ln w="127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grpSp>
      </p:grpSp>
      <p:sp>
        <p:nvSpPr>
          <p:cNvPr id="19" name="Text Placeholder 5">
            <a:extLst>
              <a:ext uri="{FF2B5EF4-FFF2-40B4-BE49-F238E27FC236}">
                <a16:creationId xmlns:a16="http://schemas.microsoft.com/office/drawing/2014/main" id="{43853592-F1F6-767F-517B-CC0E4128C6D9}"/>
              </a:ext>
            </a:extLst>
          </p:cNvPr>
          <p:cNvSpPr txBox="1">
            <a:spLocks/>
          </p:cNvSpPr>
          <p:nvPr/>
        </p:nvSpPr>
        <p:spPr>
          <a:xfrm>
            <a:off x="5648960" y="2619375"/>
            <a:ext cx="4511040" cy="1647826"/>
          </a:xfrm>
          <a:prstGeom prst="rect">
            <a:avLst/>
          </a:prstGeom>
          <a:noFill/>
        </p:spPr>
        <p:txBody>
          <a:bodyPr lIns="182880" tIns="182880" rIns="182880" bIns="182880" anchor="ctr"/>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300"/>
              </a:spcBef>
              <a:spcAft>
                <a:spcPts val="300"/>
              </a:spcAft>
              <a:buClr>
                <a:srgbClr val="FF612B"/>
              </a:buClr>
              <a:buSzTx/>
              <a:buFont typeface="Arial"/>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CEF26655-6C44-7F4A-E769-2145A25ABCCB}"/>
              </a:ext>
            </a:extLst>
          </p:cNvPr>
          <p:cNvSpPr txBox="1"/>
          <p:nvPr/>
        </p:nvSpPr>
        <p:spPr>
          <a:xfrm>
            <a:off x="5778269" y="2144708"/>
            <a:ext cx="4521200" cy="2092881"/>
          </a:xfrm>
          <a:prstGeom prst="rect">
            <a:avLst/>
          </a:prstGeom>
          <a:solidFill>
            <a:schemeClr val="bg2"/>
          </a:solidFill>
        </p:spPr>
        <p:txBody>
          <a:bodyPr wrap="square" rtlCol="0" anchor="ctr">
            <a:spAutoFit/>
          </a:bodyPr>
          <a:lstStyle/>
          <a:p>
            <a:pPr marL="0" marR="0" lvl="0" indent="0" algn="l" defTabSz="914309" rtl="0" eaLnBrk="1" fontAlgn="auto" latinLnBrk="0" hangingPunct="1">
              <a:lnSpc>
                <a:spcPct val="100000"/>
              </a:lnSpc>
              <a:spcBef>
                <a:spcPts val="600"/>
              </a:spcBef>
              <a:spcAft>
                <a:spcPts val="600"/>
              </a:spcAft>
              <a:buClrTx/>
              <a:buSzTx/>
              <a:buFontTx/>
              <a:buNone/>
              <a:tabLst>
                <a:tab pos="1604963" algn="l"/>
              </a:tabLst>
              <a:defRPr/>
            </a:pPr>
            <a:r>
              <a:rPr kumimoji="0" lang="en-GB" sz="2000" b="1" i="0" u="none" strike="noStrike" kern="1200" cap="none" spc="0" normalizeH="0" baseline="0" noProof="0">
                <a:ln>
                  <a:noFill/>
                </a:ln>
                <a:solidFill>
                  <a:srgbClr val="002677"/>
                </a:solidFill>
                <a:effectLst/>
                <a:uLnTx/>
                <a:uFillTx/>
                <a:latin typeface="Arial" panose="020B0604020202020204"/>
                <a:ea typeface="+mn-ea"/>
                <a:cs typeface="+mn-cs"/>
              </a:rPr>
              <a:t>Raise your hand on Teams or post in chat:</a:t>
            </a:r>
          </a:p>
          <a:p>
            <a:pPr marL="0" marR="0" lvl="0" indent="0" algn="l" defTabSz="914309" rtl="0" eaLnBrk="1" fontAlgn="auto" latinLnBrk="0" hangingPunct="1">
              <a:lnSpc>
                <a:spcPct val="100000"/>
              </a:lnSpc>
              <a:spcBef>
                <a:spcPts val="600"/>
              </a:spcBef>
              <a:spcAft>
                <a:spcPts val="600"/>
              </a:spcAft>
              <a:buClrTx/>
              <a:buSzTx/>
              <a:buFontTx/>
              <a:buNone/>
              <a:tabLst>
                <a:tab pos="1604963" algn="l"/>
              </a:tabLst>
              <a:defRPr/>
            </a:pPr>
            <a:r>
              <a:rPr kumimoji="0" lang="en-GB" sz="2000" i="0" u="none" strike="noStrike" kern="1200" cap="none" spc="0" normalizeH="0" baseline="0" noProof="0">
                <a:ln>
                  <a:noFill/>
                </a:ln>
                <a:solidFill>
                  <a:srgbClr val="002677"/>
                </a:solidFill>
                <a:effectLst/>
                <a:uLnTx/>
                <a:uFillTx/>
                <a:latin typeface="Arial" panose="020B0604020202020204"/>
                <a:ea typeface="+mn-ea"/>
                <a:cs typeface="+mn-cs"/>
              </a:rPr>
              <a:t>Do you have experience of using any of these types of evaluation study? Which do you think are most appropriate for your work</a:t>
            </a:r>
            <a:r>
              <a:rPr lang="en-GB" sz="2000">
                <a:solidFill>
                  <a:srgbClr val="002677"/>
                </a:solidFill>
                <a:latin typeface="Arial" panose="020B0604020202020204"/>
              </a:rPr>
              <a:t>?</a:t>
            </a:r>
            <a:endParaRPr kumimoji="0" lang="en-GB" sz="2000" i="0" u="none" strike="noStrike" kern="1200" cap="none" spc="0" normalizeH="0" baseline="0" noProof="0">
              <a:ln>
                <a:noFill/>
              </a:ln>
              <a:solidFill>
                <a:srgbClr val="002677"/>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D9EA3648-9874-E445-CD38-4CCED972540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1485675" y="1439713"/>
            <a:ext cx="3275446" cy="3275446"/>
          </a:xfrm>
          <a:prstGeom prst="rect">
            <a:avLst/>
          </a:prstGeom>
        </p:spPr>
      </p:pic>
    </p:spTree>
    <p:extLst>
      <p:ext uri="{BB962C8B-B14F-4D97-AF65-F5344CB8AC3E}">
        <p14:creationId xmlns:p14="http://schemas.microsoft.com/office/powerpoint/2010/main" val="20826747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FE71D-D602-0326-5F90-3F60CBF4F7BC}"/>
              </a:ext>
            </a:extLst>
          </p:cNvPr>
          <p:cNvSpPr>
            <a:spLocks noGrp="1"/>
          </p:cNvSpPr>
          <p:nvPr>
            <p:ph type="title"/>
          </p:nvPr>
        </p:nvSpPr>
        <p:spPr>
          <a:xfrm>
            <a:off x="1752600" y="3212854"/>
            <a:ext cx="8686800" cy="761747"/>
          </a:xfrm>
        </p:spPr>
        <p:txBody>
          <a:bodyPr/>
          <a:lstStyle/>
          <a:p>
            <a:r>
              <a:rPr lang="en-US"/>
              <a:t>Correlation vs causality</a:t>
            </a:r>
          </a:p>
        </p:txBody>
      </p:sp>
      <p:sp>
        <p:nvSpPr>
          <p:cNvPr id="3" name="Text Placeholder 2">
            <a:extLst>
              <a:ext uri="{FF2B5EF4-FFF2-40B4-BE49-F238E27FC236}">
                <a16:creationId xmlns:a16="http://schemas.microsoft.com/office/drawing/2014/main" id="{DD142D4C-77E4-6394-EC93-48F525524FE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0516925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6359925-A663-D81C-F96F-9CDFEA76CDCC}"/>
              </a:ext>
            </a:extLst>
          </p:cNvPr>
          <p:cNvPicPr>
            <a:picLocks noChangeAspect="1"/>
          </p:cNvPicPr>
          <p:nvPr/>
        </p:nvPicPr>
        <p:blipFill>
          <a:blip r:embed="rId2"/>
          <a:stretch>
            <a:fillRect/>
          </a:stretch>
        </p:blipFill>
        <p:spPr>
          <a:xfrm>
            <a:off x="2030952" y="527458"/>
            <a:ext cx="6509366" cy="5877087"/>
          </a:xfrm>
          <a:prstGeom prst="rect">
            <a:avLst/>
          </a:prstGeom>
        </p:spPr>
      </p:pic>
    </p:spTree>
    <p:extLst>
      <p:ext uri="{BB962C8B-B14F-4D97-AF65-F5344CB8AC3E}">
        <p14:creationId xmlns:p14="http://schemas.microsoft.com/office/powerpoint/2010/main" val="33877234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4DA272-7AD5-C73A-268E-1A4236CF193B}"/>
              </a:ext>
            </a:extLst>
          </p:cNvPr>
          <p:cNvSpPr>
            <a:spLocks noGrp="1"/>
          </p:cNvSpPr>
          <p:nvPr>
            <p:ph type="title"/>
          </p:nvPr>
        </p:nvSpPr>
        <p:spPr/>
        <p:txBody>
          <a:bodyPr/>
          <a:lstStyle/>
          <a:p>
            <a:r>
              <a:rPr lang="en-GB"/>
              <a:t>Correlation vs Causation - definitions</a:t>
            </a:r>
            <a:endParaRPr lang="en-US"/>
          </a:p>
        </p:txBody>
      </p:sp>
      <p:sp>
        <p:nvSpPr>
          <p:cNvPr id="4" name="TextBox 3">
            <a:extLst>
              <a:ext uri="{FF2B5EF4-FFF2-40B4-BE49-F238E27FC236}">
                <a16:creationId xmlns:a16="http://schemas.microsoft.com/office/drawing/2014/main" id="{A7B23164-D45D-7BC5-6852-FFB26ABCFEF3}"/>
              </a:ext>
            </a:extLst>
          </p:cNvPr>
          <p:cNvSpPr txBox="1"/>
          <p:nvPr/>
        </p:nvSpPr>
        <p:spPr bwMode="gray">
          <a:xfrm>
            <a:off x="1156316" y="1762190"/>
            <a:ext cx="6094520" cy="1666809"/>
          </a:xfrm>
          <a:prstGeom prst="rect">
            <a:avLst/>
          </a:prstGeom>
          <a:solidFill>
            <a:srgbClr val="FBF9F4"/>
          </a:solidFill>
        </p:spPr>
        <p:txBody>
          <a:bodyPr vert="horz" lIns="182880" tIns="182880" rIns="182880" bIns="182880" rtlCol="0" anchor="t">
            <a:noAutofit/>
          </a:bodyPr>
          <a:lstStyle>
            <a:lvl1pPr indent="0">
              <a:lnSpc>
                <a:spcPct val="100000"/>
              </a:lnSpc>
              <a:spcBef>
                <a:spcPts val="600"/>
              </a:spcBef>
              <a:spcAft>
                <a:spcPts val="1600"/>
              </a:spcAft>
              <a:buFont typeface="+mj-lt"/>
              <a:buNone/>
              <a:defRPr sz="1600" b="1">
                <a:solidFill>
                  <a:schemeClr val="accent6"/>
                </a:solidFill>
              </a:defRPr>
            </a:lvl1pPr>
            <a:lvl2pPr marL="228600" indent="-228600">
              <a:lnSpc>
                <a:spcPct val="100000"/>
              </a:lnSpc>
              <a:spcBef>
                <a:spcPts val="600"/>
              </a:spcBef>
              <a:buClr>
                <a:schemeClr val="tx1"/>
              </a:buClr>
              <a:buFont typeface="Arial" panose="020B0604020202020204" pitchFamily="34" charset="0"/>
              <a:buChar char="•"/>
            </a:lvl2pPr>
            <a:lvl3pPr marL="231775" indent="0">
              <a:lnSpc>
                <a:spcPct val="100000"/>
              </a:lnSpc>
              <a:spcBef>
                <a:spcPts val="600"/>
              </a:spcBef>
              <a:buFontTx/>
              <a:buNone/>
            </a:lvl3pPr>
            <a:lvl4pPr marL="457200" indent="-228600">
              <a:lnSpc>
                <a:spcPct val="100000"/>
              </a:lnSpc>
              <a:spcBef>
                <a:spcPts val="600"/>
              </a:spcBef>
              <a:buClr>
                <a:schemeClr val="tx1"/>
              </a:buClr>
              <a:buFont typeface="Arial" panose="020B0604020202020204" pitchFamily="34" charset="0"/>
              <a:buChar char="–"/>
              <a:defRPr sz="1600"/>
            </a:lvl4pPr>
            <a:lvl5pPr marL="688975" indent="-228600">
              <a:lnSpc>
                <a:spcPct val="100000"/>
              </a:lnSpc>
              <a:spcBef>
                <a:spcPts val="600"/>
              </a:spcBef>
              <a:buClr>
                <a:schemeClr val="tx1"/>
              </a:buClr>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Correlation:</a:t>
            </a:r>
          </a:p>
          <a:p>
            <a:r>
              <a:rPr lang="en-US" b="0"/>
              <a:t>In statistics, correlation or dependence is any statistical relationship, whether causal or not, between two random variables or bivariate data.</a:t>
            </a:r>
          </a:p>
        </p:txBody>
      </p:sp>
      <p:sp>
        <p:nvSpPr>
          <p:cNvPr id="6" name="TextBox 5">
            <a:extLst>
              <a:ext uri="{FF2B5EF4-FFF2-40B4-BE49-F238E27FC236}">
                <a16:creationId xmlns:a16="http://schemas.microsoft.com/office/drawing/2014/main" id="{A4BCFF11-7819-2E16-BDE0-F7311EEDBE56}"/>
              </a:ext>
            </a:extLst>
          </p:cNvPr>
          <p:cNvSpPr txBox="1"/>
          <p:nvPr/>
        </p:nvSpPr>
        <p:spPr bwMode="gray">
          <a:xfrm>
            <a:off x="1156316" y="4002907"/>
            <a:ext cx="6094520" cy="1918499"/>
          </a:xfrm>
          <a:prstGeom prst="rect">
            <a:avLst/>
          </a:prstGeom>
          <a:solidFill>
            <a:srgbClr val="FBF9F4"/>
          </a:solidFill>
        </p:spPr>
        <p:txBody>
          <a:bodyPr vert="horz" lIns="182880" tIns="182880" rIns="182880" bIns="182880" rtlCol="0" anchor="t">
            <a:noAutofit/>
          </a:bodyPr>
          <a:lstStyle>
            <a:defPPr>
              <a:defRPr lang="en-US"/>
            </a:defPPr>
            <a:lvl1pPr indent="0">
              <a:lnSpc>
                <a:spcPct val="100000"/>
              </a:lnSpc>
              <a:spcBef>
                <a:spcPts val="600"/>
              </a:spcBef>
              <a:spcAft>
                <a:spcPts val="1600"/>
              </a:spcAft>
              <a:buFont typeface="+mj-lt"/>
              <a:buNone/>
              <a:defRPr sz="1600" b="1">
                <a:solidFill>
                  <a:schemeClr val="accent6"/>
                </a:solidFill>
              </a:defRPr>
            </a:lvl1pPr>
            <a:lvl2pPr marL="228600" indent="-228600">
              <a:lnSpc>
                <a:spcPct val="100000"/>
              </a:lnSpc>
              <a:spcBef>
                <a:spcPts val="600"/>
              </a:spcBef>
              <a:buClr>
                <a:schemeClr val="tx1"/>
              </a:buClr>
              <a:buFont typeface="Arial" panose="020B0604020202020204" pitchFamily="34" charset="0"/>
              <a:buChar char="•"/>
            </a:lvl2pPr>
            <a:lvl3pPr marL="231775" indent="0">
              <a:lnSpc>
                <a:spcPct val="100000"/>
              </a:lnSpc>
              <a:spcBef>
                <a:spcPts val="600"/>
              </a:spcBef>
              <a:buFontTx/>
              <a:buNone/>
            </a:lvl3pPr>
            <a:lvl4pPr marL="457200" indent="-228600">
              <a:lnSpc>
                <a:spcPct val="100000"/>
              </a:lnSpc>
              <a:spcBef>
                <a:spcPts val="600"/>
              </a:spcBef>
              <a:buClr>
                <a:schemeClr val="tx1"/>
              </a:buClr>
              <a:buFont typeface="Arial" panose="020B0604020202020204" pitchFamily="34" charset="0"/>
              <a:buChar char="–"/>
              <a:defRPr sz="1600"/>
            </a:lvl4pPr>
            <a:lvl5pPr marL="688975" indent="-228600">
              <a:lnSpc>
                <a:spcPct val="100000"/>
              </a:lnSpc>
              <a:spcBef>
                <a:spcPts val="600"/>
              </a:spcBef>
              <a:buClr>
                <a:schemeClr val="tx1"/>
              </a:buClr>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Causation:</a:t>
            </a:r>
          </a:p>
          <a:p>
            <a:r>
              <a:rPr lang="en-US" b="0"/>
              <a:t>Causation indicates that one event is the result of the occurrence of the other event; i.e. there is a causal relationship between the two events. This is also referred to as cause and effect.</a:t>
            </a:r>
          </a:p>
        </p:txBody>
      </p:sp>
    </p:spTree>
    <p:extLst>
      <p:ext uri="{BB962C8B-B14F-4D97-AF65-F5344CB8AC3E}">
        <p14:creationId xmlns:p14="http://schemas.microsoft.com/office/powerpoint/2010/main" val="36959326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743AD1-EE01-B391-63A5-88D251070E29}"/>
              </a:ext>
            </a:extLst>
          </p:cNvPr>
          <p:cNvSpPr>
            <a:spLocks noGrp="1"/>
          </p:cNvSpPr>
          <p:nvPr>
            <p:ph type="title"/>
          </p:nvPr>
        </p:nvSpPr>
        <p:spPr/>
        <p:txBody>
          <a:bodyPr/>
          <a:lstStyle/>
          <a:p>
            <a:r>
              <a:rPr lang="en-GB"/>
              <a:t>Correlation does not equal causation – spurious correlation</a:t>
            </a:r>
            <a:endParaRPr lang="en-US"/>
          </a:p>
        </p:txBody>
      </p:sp>
      <p:pic>
        <p:nvPicPr>
          <p:cNvPr id="6" name="Picture 5">
            <a:extLst>
              <a:ext uri="{FF2B5EF4-FFF2-40B4-BE49-F238E27FC236}">
                <a16:creationId xmlns:a16="http://schemas.microsoft.com/office/drawing/2014/main" id="{7E6E466A-090D-687D-17AB-EF322A4D19E9}"/>
              </a:ext>
            </a:extLst>
          </p:cNvPr>
          <p:cNvPicPr>
            <a:picLocks noChangeAspect="1"/>
          </p:cNvPicPr>
          <p:nvPr/>
        </p:nvPicPr>
        <p:blipFill>
          <a:blip r:embed="rId2"/>
          <a:stretch>
            <a:fillRect/>
          </a:stretch>
        </p:blipFill>
        <p:spPr>
          <a:xfrm>
            <a:off x="480873" y="1376604"/>
            <a:ext cx="6634164" cy="4617796"/>
          </a:xfrm>
          <a:prstGeom prst="rect">
            <a:avLst/>
          </a:prstGeom>
        </p:spPr>
      </p:pic>
      <p:sp>
        <p:nvSpPr>
          <p:cNvPr id="4" name="TextBox 3">
            <a:extLst>
              <a:ext uri="{FF2B5EF4-FFF2-40B4-BE49-F238E27FC236}">
                <a16:creationId xmlns:a16="http://schemas.microsoft.com/office/drawing/2014/main" id="{EFE89C79-1916-6619-9E90-F81E57CEFC81}"/>
              </a:ext>
            </a:extLst>
          </p:cNvPr>
          <p:cNvSpPr txBox="1"/>
          <p:nvPr/>
        </p:nvSpPr>
        <p:spPr bwMode="gray">
          <a:xfrm>
            <a:off x="7810868" y="1376604"/>
            <a:ext cx="3815183" cy="4247317"/>
          </a:xfrm>
          <a:prstGeom prst="rect">
            <a:avLst/>
          </a:prstGeom>
          <a:noFill/>
        </p:spPr>
        <p:txBody>
          <a:bodyPr wrap="square">
            <a:spAutoFit/>
          </a:bodyPr>
          <a:lstStyle/>
          <a:p>
            <a:r>
              <a:rPr lang="en-US"/>
              <a:t>In statistics, a spurious correlation refers to a connection between two variables that appears to be causal but is not.</a:t>
            </a:r>
          </a:p>
          <a:p>
            <a:endParaRPr lang="en-US"/>
          </a:p>
          <a:p>
            <a:r>
              <a:rPr lang="en-US"/>
              <a:t>The logical interpretation of the graph on the left is that eating organic food causes autism.</a:t>
            </a:r>
          </a:p>
          <a:p>
            <a:endParaRPr lang="en-US"/>
          </a:p>
          <a:p>
            <a:r>
              <a:rPr lang="en-US"/>
              <a:t>However, this coincidental correlation is caused by the fact that autism has been better diagnosed, recorded, and reported since organic food became more popular in the 1990s.</a:t>
            </a:r>
          </a:p>
        </p:txBody>
      </p:sp>
    </p:spTree>
    <p:extLst>
      <p:ext uri="{BB962C8B-B14F-4D97-AF65-F5344CB8AC3E}">
        <p14:creationId xmlns:p14="http://schemas.microsoft.com/office/powerpoint/2010/main" val="37603849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82E40-48CE-CA38-2A8E-F41D01F519B1}"/>
              </a:ext>
            </a:extLst>
          </p:cNvPr>
          <p:cNvSpPr>
            <a:spLocks noGrp="1"/>
          </p:cNvSpPr>
          <p:nvPr>
            <p:ph type="title"/>
          </p:nvPr>
        </p:nvSpPr>
        <p:spPr/>
        <p:txBody>
          <a:bodyPr/>
          <a:lstStyle/>
          <a:p>
            <a:r>
              <a:rPr lang="en-GB"/>
              <a:t>Correlation does not equal causation - Confounding</a:t>
            </a:r>
            <a:endParaRPr lang="en-US"/>
          </a:p>
        </p:txBody>
      </p:sp>
      <p:grpSp>
        <p:nvGrpSpPr>
          <p:cNvPr id="6" name="Group 5">
            <a:extLst>
              <a:ext uri="{FF2B5EF4-FFF2-40B4-BE49-F238E27FC236}">
                <a16:creationId xmlns:a16="http://schemas.microsoft.com/office/drawing/2014/main" id="{1D053714-17A6-2C21-1314-6282811F7646}"/>
              </a:ext>
            </a:extLst>
          </p:cNvPr>
          <p:cNvGrpSpPr/>
          <p:nvPr/>
        </p:nvGrpSpPr>
        <p:grpSpPr>
          <a:xfrm>
            <a:off x="457199" y="1222347"/>
            <a:ext cx="7262673" cy="5080014"/>
            <a:chOff x="1864311" y="1320786"/>
            <a:chExt cx="7262673" cy="5080014"/>
          </a:xfrm>
        </p:grpSpPr>
        <p:pic>
          <p:nvPicPr>
            <p:cNvPr id="4" name="Picture 3">
              <a:extLst>
                <a:ext uri="{FF2B5EF4-FFF2-40B4-BE49-F238E27FC236}">
                  <a16:creationId xmlns:a16="http://schemas.microsoft.com/office/drawing/2014/main" id="{BE5DCED4-48BC-7C70-109B-A3D66F0B1C61}"/>
                </a:ext>
              </a:extLst>
            </p:cNvPr>
            <p:cNvPicPr>
              <a:picLocks noChangeAspect="1"/>
            </p:cNvPicPr>
            <p:nvPr/>
          </p:nvPicPr>
          <p:blipFill>
            <a:blip r:embed="rId2"/>
            <a:stretch>
              <a:fillRect/>
            </a:stretch>
          </p:blipFill>
          <p:spPr>
            <a:xfrm>
              <a:off x="1964184" y="1320786"/>
              <a:ext cx="7162800" cy="4981575"/>
            </a:xfrm>
            <a:prstGeom prst="rect">
              <a:avLst/>
            </a:prstGeom>
          </p:spPr>
        </p:pic>
        <p:sp>
          <p:nvSpPr>
            <p:cNvPr id="5" name="Rectangle 4">
              <a:extLst>
                <a:ext uri="{FF2B5EF4-FFF2-40B4-BE49-F238E27FC236}">
                  <a16:creationId xmlns:a16="http://schemas.microsoft.com/office/drawing/2014/main" id="{A4D202BF-C40D-35C6-E5A2-B95C12A3DFF8}"/>
                </a:ext>
              </a:extLst>
            </p:cNvPr>
            <p:cNvSpPr/>
            <p:nvPr/>
          </p:nvSpPr>
          <p:spPr bwMode="gray">
            <a:xfrm>
              <a:off x="1864311" y="5628443"/>
              <a:ext cx="843378" cy="772357"/>
            </a:xfrm>
            <a:prstGeom prst="rect">
              <a:avLst/>
            </a:prstGeom>
            <a:solidFill>
              <a:schemeClr val="bg1"/>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sp>
        <p:nvSpPr>
          <p:cNvPr id="7" name="TextBox 6">
            <a:extLst>
              <a:ext uri="{FF2B5EF4-FFF2-40B4-BE49-F238E27FC236}">
                <a16:creationId xmlns:a16="http://schemas.microsoft.com/office/drawing/2014/main" id="{3D299BAB-11B4-E391-DAA5-6716B6304DA0}"/>
              </a:ext>
            </a:extLst>
          </p:cNvPr>
          <p:cNvSpPr txBox="1"/>
          <p:nvPr/>
        </p:nvSpPr>
        <p:spPr bwMode="gray">
          <a:xfrm>
            <a:off x="7819745" y="1222347"/>
            <a:ext cx="3815183" cy="4247317"/>
          </a:xfrm>
          <a:prstGeom prst="rect">
            <a:avLst/>
          </a:prstGeom>
          <a:noFill/>
        </p:spPr>
        <p:txBody>
          <a:bodyPr wrap="square">
            <a:spAutoFit/>
          </a:bodyPr>
          <a:lstStyle/>
          <a:p>
            <a:r>
              <a:rPr lang="en-US"/>
              <a:t>A confounder is a variable that influences both the dependent variable and independent variable, causing a spurious association.</a:t>
            </a:r>
          </a:p>
          <a:p>
            <a:endParaRPr lang="en-US"/>
          </a:p>
          <a:p>
            <a:r>
              <a:rPr lang="en-US"/>
              <a:t>The logical interpretation of the graph on the left is that alcohol consumptions causes lung cancer.</a:t>
            </a:r>
          </a:p>
          <a:p>
            <a:endParaRPr lang="en-US"/>
          </a:p>
          <a:p>
            <a:r>
              <a:rPr lang="en-US"/>
              <a:t>However, the true cause of 90% of lung cancers is smoking. But as people (and countries) who drink more alcohol are also likely to smoke more, smoking is the confounding variable.</a:t>
            </a:r>
          </a:p>
        </p:txBody>
      </p:sp>
    </p:spTree>
    <p:extLst>
      <p:ext uri="{BB962C8B-B14F-4D97-AF65-F5344CB8AC3E}">
        <p14:creationId xmlns:p14="http://schemas.microsoft.com/office/powerpoint/2010/main" val="2280311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9651A-1287-625D-E685-83C6814C4E28}"/>
              </a:ext>
            </a:extLst>
          </p:cNvPr>
          <p:cNvSpPr>
            <a:spLocks noGrp="1"/>
          </p:cNvSpPr>
          <p:nvPr>
            <p:ph type="title"/>
          </p:nvPr>
        </p:nvSpPr>
        <p:spPr/>
        <p:txBody>
          <a:bodyPr/>
          <a:lstStyle/>
          <a:p>
            <a:r>
              <a:rPr lang="en-GB"/>
              <a:t>Correlation does not equal causation - Ecological fallacy</a:t>
            </a:r>
            <a:endParaRPr lang="en-US"/>
          </a:p>
        </p:txBody>
      </p:sp>
      <p:pic>
        <p:nvPicPr>
          <p:cNvPr id="4" name="Picture 3">
            <a:extLst>
              <a:ext uri="{FF2B5EF4-FFF2-40B4-BE49-F238E27FC236}">
                <a16:creationId xmlns:a16="http://schemas.microsoft.com/office/drawing/2014/main" id="{9FD29EA8-1452-A9E0-F209-CB2C4FCC4173}"/>
              </a:ext>
            </a:extLst>
          </p:cNvPr>
          <p:cNvPicPr>
            <a:picLocks noChangeAspect="1"/>
          </p:cNvPicPr>
          <p:nvPr/>
        </p:nvPicPr>
        <p:blipFill>
          <a:blip r:embed="rId2"/>
          <a:stretch>
            <a:fillRect/>
          </a:stretch>
        </p:blipFill>
        <p:spPr>
          <a:xfrm>
            <a:off x="860771" y="1552306"/>
            <a:ext cx="7969188" cy="4380723"/>
          </a:xfrm>
          <a:prstGeom prst="rect">
            <a:avLst/>
          </a:prstGeom>
        </p:spPr>
      </p:pic>
      <p:sp>
        <p:nvSpPr>
          <p:cNvPr id="6" name="TextBox 5">
            <a:extLst>
              <a:ext uri="{FF2B5EF4-FFF2-40B4-BE49-F238E27FC236}">
                <a16:creationId xmlns:a16="http://schemas.microsoft.com/office/drawing/2014/main" id="{DF4FDDC1-D53A-A84B-F49D-BBDFFEF1614E}"/>
              </a:ext>
            </a:extLst>
          </p:cNvPr>
          <p:cNvSpPr txBox="1"/>
          <p:nvPr/>
        </p:nvSpPr>
        <p:spPr bwMode="gray">
          <a:xfrm>
            <a:off x="860771" y="5933029"/>
            <a:ext cx="3245491" cy="369332"/>
          </a:xfrm>
          <a:prstGeom prst="rect">
            <a:avLst/>
          </a:prstGeom>
          <a:noFill/>
        </p:spPr>
        <p:txBody>
          <a:bodyPr wrap="square">
            <a:spAutoFit/>
          </a:bodyPr>
          <a:lstStyle/>
          <a:p>
            <a:r>
              <a:rPr lang="en-US" i="1"/>
              <a:t>Durkheim E. Suicide, (1897)</a:t>
            </a:r>
          </a:p>
        </p:txBody>
      </p:sp>
      <p:sp>
        <p:nvSpPr>
          <p:cNvPr id="5" name="TextBox 4">
            <a:extLst>
              <a:ext uri="{FF2B5EF4-FFF2-40B4-BE49-F238E27FC236}">
                <a16:creationId xmlns:a16="http://schemas.microsoft.com/office/drawing/2014/main" id="{E967948D-5306-E194-0E85-AA353144D42D}"/>
              </a:ext>
            </a:extLst>
          </p:cNvPr>
          <p:cNvSpPr txBox="1"/>
          <p:nvPr/>
        </p:nvSpPr>
        <p:spPr bwMode="gray">
          <a:xfrm>
            <a:off x="8829959" y="1182974"/>
            <a:ext cx="3074996" cy="4801314"/>
          </a:xfrm>
          <a:prstGeom prst="rect">
            <a:avLst/>
          </a:prstGeom>
          <a:noFill/>
        </p:spPr>
        <p:txBody>
          <a:bodyPr wrap="square">
            <a:spAutoFit/>
          </a:bodyPr>
          <a:lstStyle/>
          <a:p>
            <a:r>
              <a:rPr lang="en-US"/>
              <a:t>The ecological fallacy is the error of attributing the characteristics of a population to an individual.</a:t>
            </a:r>
          </a:p>
          <a:p>
            <a:endParaRPr lang="en-US"/>
          </a:p>
          <a:p>
            <a:r>
              <a:rPr lang="en-US"/>
              <a:t>The logical interpretation of the graph on the left is that protestants are committing suicide.</a:t>
            </a:r>
          </a:p>
          <a:p>
            <a:endParaRPr lang="en-US"/>
          </a:p>
          <a:p>
            <a:r>
              <a:rPr lang="en-US"/>
              <a:t>However, it is in fact Catholics committing suicide, who were often marginalized or even persecuted when living in pre-dominantly Catholic provinces.</a:t>
            </a:r>
          </a:p>
        </p:txBody>
      </p:sp>
    </p:spTree>
    <p:extLst>
      <p:ext uri="{BB962C8B-B14F-4D97-AF65-F5344CB8AC3E}">
        <p14:creationId xmlns:p14="http://schemas.microsoft.com/office/powerpoint/2010/main" val="4141647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536499-0528-498A-ABDE-B0F4B7B1A18B}"/>
              </a:ext>
            </a:extLst>
          </p:cNvPr>
          <p:cNvSpPr>
            <a:spLocks noGrp="1"/>
          </p:cNvSpPr>
          <p:nvPr>
            <p:ph type="title"/>
          </p:nvPr>
        </p:nvSpPr>
        <p:spPr/>
        <p:txBody>
          <a:bodyPr/>
          <a:lstStyle/>
          <a:p>
            <a:r>
              <a:rPr lang="en-US"/>
              <a:t>Questions of causality</a:t>
            </a:r>
          </a:p>
        </p:txBody>
      </p:sp>
      <p:sp>
        <p:nvSpPr>
          <p:cNvPr id="24" name="Rectangle 23">
            <a:extLst>
              <a:ext uri="{FF2B5EF4-FFF2-40B4-BE49-F238E27FC236}">
                <a16:creationId xmlns:a16="http://schemas.microsoft.com/office/drawing/2014/main" id="{919FFE5D-A421-4510-BA61-342F21A32097}"/>
              </a:ext>
            </a:extLst>
          </p:cNvPr>
          <p:cNvSpPr/>
          <p:nvPr/>
        </p:nvSpPr>
        <p:spPr bwMode="gray">
          <a:xfrm>
            <a:off x="725464" y="2080628"/>
            <a:ext cx="3025319" cy="2459875"/>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4C5320E8-80CD-4626-9E6F-54355E0822CA}"/>
              </a:ext>
            </a:extLst>
          </p:cNvPr>
          <p:cNvSpPr txBox="1"/>
          <p:nvPr/>
        </p:nvSpPr>
        <p:spPr bwMode="gray">
          <a:xfrm>
            <a:off x="880139" y="2940053"/>
            <a:ext cx="2715963" cy="1384995"/>
          </a:xfrm>
          <a:prstGeom prst="rect">
            <a:avLst/>
          </a:prstGeom>
          <a:noFill/>
        </p:spPr>
        <p:txBody>
          <a:bodyPr vert="horz" wrap="square" lIns="0" tIns="0" rIns="0" bIns="0" rtlCol="0">
            <a:spAutoFit/>
          </a:bodyPr>
          <a:lstStyle/>
          <a:p>
            <a:pPr marR="0" lvl="0" algn="ctr" defTabSz="914400" rtl="0" eaLnBrk="1" fontAlgn="auto" latinLnBrk="0" hangingPunct="1">
              <a:lnSpc>
                <a:spcPct val="100000"/>
              </a:lnSpc>
              <a:spcBef>
                <a:spcPts val="600"/>
              </a:spcBef>
              <a:spcAft>
                <a:spcPts val="0"/>
              </a:spcAft>
              <a:buClrTx/>
              <a:buSzTx/>
              <a:tabLst/>
              <a:defRPr/>
            </a:pPr>
            <a:r>
              <a:rPr kumimoji="0" lang="en-US" i="0" u="none" strike="noStrike" kern="1200" cap="none" spc="0" normalizeH="0" baseline="0" noProof="0">
                <a:ln>
                  <a:noFill/>
                </a:ln>
                <a:solidFill>
                  <a:srgbClr val="002677"/>
                </a:solidFill>
                <a:effectLst/>
                <a:uLnTx/>
                <a:uFillTx/>
                <a:latin typeface="Arial" panose="020B0604020202020204"/>
                <a:ea typeface="+mn-ea"/>
                <a:cs typeface="+mn-cs"/>
              </a:rPr>
              <a:t>We have a </a:t>
            </a:r>
            <a:r>
              <a:rPr kumimoji="0" lang="en-US" b="1" i="0" u="none" strike="noStrike" kern="1200" cap="none" spc="0" normalizeH="0" baseline="0" noProof="0">
                <a:ln>
                  <a:noFill/>
                </a:ln>
                <a:solidFill>
                  <a:srgbClr val="002677"/>
                </a:solidFill>
                <a:effectLst/>
                <a:uLnTx/>
                <a:uFillTx/>
                <a:latin typeface="Arial" panose="020B0604020202020204"/>
                <a:ea typeface="+mn-ea"/>
                <a:cs typeface="+mn-cs"/>
              </a:rPr>
              <a:t>causal</a:t>
            </a:r>
            <a:r>
              <a:rPr kumimoji="0" lang="en-US" i="0" u="none" strike="noStrike" kern="1200" cap="none" spc="0" normalizeH="0" baseline="0" noProof="0">
                <a:ln>
                  <a:noFill/>
                </a:ln>
                <a:solidFill>
                  <a:srgbClr val="002677"/>
                </a:solidFill>
                <a:effectLst/>
                <a:uLnTx/>
                <a:uFillTx/>
                <a:latin typeface="Arial" panose="020B0604020202020204"/>
                <a:ea typeface="+mn-ea"/>
                <a:cs typeface="+mn-cs"/>
              </a:rPr>
              <a:t> question: does our </a:t>
            </a:r>
            <a:r>
              <a:rPr kumimoji="0" lang="en-US" b="1" i="0" u="none" strike="noStrike" kern="1200" cap="none" spc="0" normalizeH="0" baseline="0" noProof="0">
                <a:ln>
                  <a:noFill/>
                </a:ln>
                <a:solidFill>
                  <a:srgbClr val="002677"/>
                </a:solidFill>
                <a:effectLst/>
                <a:uLnTx/>
                <a:uFillTx/>
                <a:latin typeface="Arial" panose="020B0604020202020204"/>
                <a:ea typeface="+mn-ea"/>
                <a:cs typeface="+mn-cs"/>
              </a:rPr>
              <a:t>treatment</a:t>
            </a:r>
            <a:r>
              <a:rPr kumimoji="0" lang="en-US" i="0" u="none" strike="noStrike" kern="1200" cap="none" spc="0" normalizeH="0" baseline="0" noProof="0">
                <a:ln>
                  <a:noFill/>
                </a:ln>
                <a:solidFill>
                  <a:srgbClr val="002677"/>
                </a:solidFill>
                <a:effectLst/>
                <a:uLnTx/>
                <a:uFillTx/>
                <a:latin typeface="Arial" panose="020B0604020202020204"/>
                <a:ea typeface="+mn-ea"/>
                <a:cs typeface="+mn-cs"/>
              </a:rPr>
              <a:t> differentially affect subjects’ </a:t>
            </a:r>
            <a:r>
              <a:rPr kumimoji="0" lang="en-US" b="1" i="0" u="none" strike="noStrike" kern="1200" cap="none" spc="0" normalizeH="0" baseline="0" noProof="0">
                <a:ln>
                  <a:noFill/>
                </a:ln>
                <a:solidFill>
                  <a:srgbClr val="002677"/>
                </a:solidFill>
                <a:effectLst/>
                <a:uLnTx/>
                <a:uFillTx/>
                <a:latin typeface="Arial" panose="020B0604020202020204"/>
                <a:ea typeface="+mn-ea"/>
                <a:cs typeface="+mn-cs"/>
              </a:rPr>
              <a:t>outcomes</a:t>
            </a:r>
            <a:r>
              <a:rPr kumimoji="0" lang="en-US" i="0" u="none" strike="noStrike" kern="1200" cap="none" spc="0" normalizeH="0" baseline="0" noProof="0">
                <a:ln>
                  <a:noFill/>
                </a:ln>
                <a:solidFill>
                  <a:srgbClr val="002677"/>
                </a:solidFill>
                <a:effectLst/>
                <a:uLnTx/>
                <a:uFillTx/>
                <a:latin typeface="Arial" panose="020B0604020202020204"/>
                <a:ea typeface="+mn-ea"/>
                <a:cs typeface="+mn-cs"/>
              </a:rPr>
              <a:t>?</a:t>
            </a:r>
          </a:p>
        </p:txBody>
      </p:sp>
      <p:grpSp>
        <p:nvGrpSpPr>
          <p:cNvPr id="6" name="Group 5">
            <a:extLst>
              <a:ext uri="{FF2B5EF4-FFF2-40B4-BE49-F238E27FC236}">
                <a16:creationId xmlns:a16="http://schemas.microsoft.com/office/drawing/2014/main" id="{7FF338A6-C07A-8B6E-79AF-B11845D921FB}"/>
              </a:ext>
            </a:extLst>
          </p:cNvPr>
          <p:cNvGrpSpPr/>
          <p:nvPr/>
        </p:nvGrpSpPr>
        <p:grpSpPr>
          <a:xfrm>
            <a:off x="4803931" y="2080628"/>
            <a:ext cx="6507930" cy="3862149"/>
            <a:chOff x="4564253" y="2003960"/>
            <a:chExt cx="6155961" cy="3862149"/>
          </a:xfrm>
        </p:grpSpPr>
        <p:sp>
          <p:nvSpPr>
            <p:cNvPr id="13" name="TextBox 12">
              <a:extLst>
                <a:ext uri="{FF2B5EF4-FFF2-40B4-BE49-F238E27FC236}">
                  <a16:creationId xmlns:a16="http://schemas.microsoft.com/office/drawing/2014/main" id="{8BC6A2F5-9D4B-455E-ABFD-CD664610CB9F}"/>
                </a:ext>
              </a:extLst>
            </p:cNvPr>
            <p:cNvSpPr txBox="1"/>
            <p:nvPr/>
          </p:nvSpPr>
          <p:spPr bwMode="gray">
            <a:xfrm>
              <a:off x="4577003" y="2003960"/>
              <a:ext cx="2694654" cy="64633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effectLst/>
                  <a:uLnTx/>
                  <a:uFillTx/>
                  <a:latin typeface="Arial" panose="020B0604020202020204"/>
                  <a:ea typeface="+mn-ea"/>
                  <a:cs typeface="+mn-cs"/>
                </a:rPr>
                <a:t>Causal questions are difficult to answer in the real world. Consider three examples:</a:t>
              </a:r>
            </a:p>
          </p:txBody>
        </p:sp>
        <p:cxnSp>
          <p:nvCxnSpPr>
            <p:cNvPr id="21" name="Straight Connector 20">
              <a:extLst>
                <a:ext uri="{FF2B5EF4-FFF2-40B4-BE49-F238E27FC236}">
                  <a16:creationId xmlns:a16="http://schemas.microsoft.com/office/drawing/2014/main" id="{F6FF3890-0011-43AF-9EDA-7DAEEDEFA643}"/>
                </a:ext>
              </a:extLst>
            </p:cNvPr>
            <p:cNvCxnSpPr/>
            <p:nvPr/>
          </p:nvCxnSpPr>
          <p:spPr bwMode="gray">
            <a:xfrm>
              <a:off x="4577003" y="2782274"/>
              <a:ext cx="292608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C25EA1-E7FA-4A9F-AB06-19DDEF81C366}"/>
                </a:ext>
              </a:extLst>
            </p:cNvPr>
            <p:cNvSpPr txBox="1"/>
            <p:nvPr/>
          </p:nvSpPr>
          <p:spPr bwMode="gray">
            <a:xfrm>
              <a:off x="4564253" y="2914258"/>
              <a:ext cx="2578827" cy="1877437"/>
            </a:xfrm>
            <a:prstGeom prst="rect">
              <a:avLst/>
            </a:prstGeom>
            <a:noFill/>
          </p:spPr>
          <p:txBody>
            <a:bodyPr vert="horz" wrap="square" lIns="0" tIns="0" rIns="0" bIns="0" rtlCol="0">
              <a:spAutoFit/>
            </a:bodyPr>
            <a:lstStyle/>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Industrial experiment: does </a:t>
              </a:r>
              <a:r>
                <a:rPr kumimoji="0" lang="en-US" sz="1400" i="0" u="none" strike="noStrike" kern="1200" cap="none" spc="0" normalizeH="0" baseline="0" noProof="0">
                  <a:ln>
                    <a:noFill/>
                  </a:ln>
                  <a:solidFill>
                    <a:schemeClr val="accent6">
                      <a:lumMod val="40000"/>
                      <a:lumOff val="60000"/>
                    </a:schemeClr>
                  </a:solidFill>
                  <a:effectLst/>
                  <a:uLnTx/>
                  <a:uFillTx/>
                  <a:latin typeface="Arial" panose="020B0604020202020204"/>
                  <a:ea typeface="+mn-ea"/>
                  <a:cs typeface="+mn-cs"/>
                </a:rPr>
                <a:t>water</a:t>
              </a: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 break </a:t>
              </a:r>
              <a:r>
                <a:rPr kumimoji="0" lang="en-US" sz="1400" i="0" u="none" strike="noStrike" kern="1200" cap="none" spc="0" normalizeH="0" baseline="0" noProof="0">
                  <a:ln>
                    <a:noFill/>
                  </a:ln>
                  <a:solidFill>
                    <a:schemeClr val="tx2"/>
                  </a:solidFill>
                  <a:effectLst/>
                  <a:uLnTx/>
                  <a:uFillTx/>
                  <a:latin typeface="Arial" panose="020B0604020202020204"/>
                  <a:ea typeface="+mn-ea"/>
                  <a:cs typeface="+mn-cs"/>
                </a:rPr>
                <a:t>laptop keyboards</a:t>
              </a: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Clinical trials: does a </a:t>
              </a:r>
              <a:r>
                <a:rPr kumimoji="0" lang="en-US" sz="1400" i="0" u="none" strike="noStrike" kern="1200" cap="none" spc="0" normalizeH="0" baseline="0" noProof="0">
                  <a:ln>
                    <a:noFill/>
                  </a:ln>
                  <a:solidFill>
                    <a:schemeClr val="accent6">
                      <a:lumMod val="40000"/>
                      <a:lumOff val="60000"/>
                    </a:schemeClr>
                  </a:solidFill>
                  <a:effectLst/>
                  <a:uLnTx/>
                  <a:uFillTx/>
                  <a:latin typeface="Arial" panose="020B0604020202020204"/>
                  <a:ea typeface="+mn-ea"/>
                  <a:cs typeface="+mn-cs"/>
                </a:rPr>
                <a:t>drug</a:t>
              </a: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 decrease </a:t>
              </a:r>
              <a:r>
                <a:rPr kumimoji="0" lang="en-US" sz="1400" i="0" u="none" strike="noStrike" kern="1200" cap="none" spc="0" normalizeH="0" baseline="0" noProof="0">
                  <a:ln>
                    <a:noFill/>
                  </a:ln>
                  <a:solidFill>
                    <a:schemeClr val="tx2"/>
                  </a:solidFill>
                  <a:effectLst/>
                  <a:uLnTx/>
                  <a:uFillTx/>
                  <a:latin typeface="Arial" panose="020B0604020202020204"/>
                  <a:ea typeface="+mn-ea"/>
                  <a:cs typeface="+mn-cs"/>
                </a:rPr>
                <a:t>blood pressure</a:t>
              </a: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Epidemiology: does </a:t>
              </a:r>
              <a:r>
                <a:rPr kumimoji="0" lang="en-US" sz="1400" i="0" u="none" strike="noStrike" kern="1200" cap="none" spc="0" normalizeH="0" baseline="0" noProof="0">
                  <a:ln>
                    <a:noFill/>
                  </a:ln>
                  <a:solidFill>
                    <a:schemeClr val="accent6">
                      <a:lumMod val="40000"/>
                      <a:lumOff val="60000"/>
                    </a:schemeClr>
                  </a:solidFill>
                  <a:effectLst/>
                  <a:uLnTx/>
                  <a:uFillTx/>
                  <a:latin typeface="Arial" panose="020B0604020202020204"/>
                  <a:ea typeface="+mn-ea"/>
                  <a:cs typeface="+mn-cs"/>
                </a:rPr>
                <a:t>smoking</a:t>
              </a: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 worsen </a:t>
              </a:r>
              <a:r>
                <a:rPr kumimoji="0" lang="en-US" sz="1400" i="0" u="none" strike="noStrike" kern="1200" cap="none" spc="0" normalizeH="0" baseline="0" noProof="0">
                  <a:ln>
                    <a:noFill/>
                  </a:ln>
                  <a:solidFill>
                    <a:schemeClr val="tx2"/>
                  </a:solidFill>
                  <a:effectLst/>
                  <a:uLnTx/>
                  <a:uFillTx/>
                  <a:latin typeface="Arial" panose="020B0604020202020204"/>
                  <a:ea typeface="+mn-ea"/>
                  <a:cs typeface="+mn-cs"/>
                </a:rPr>
                <a:t>lung</a:t>
              </a: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 </a:t>
              </a:r>
              <a:r>
                <a:rPr kumimoji="0" lang="en-US" sz="1400" i="0" u="none" strike="noStrike" kern="1200" cap="none" spc="0" normalizeH="0" baseline="0" noProof="0">
                  <a:ln>
                    <a:noFill/>
                  </a:ln>
                  <a:solidFill>
                    <a:schemeClr val="tx2"/>
                  </a:solidFill>
                  <a:effectLst/>
                  <a:uLnTx/>
                  <a:uFillTx/>
                  <a:latin typeface="Arial" panose="020B0604020202020204"/>
                  <a:ea typeface="+mn-ea"/>
                  <a:cs typeface="+mn-cs"/>
                </a:rPr>
                <a:t>health</a:t>
              </a: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a:t>
              </a:r>
            </a:p>
          </p:txBody>
        </p:sp>
        <p:sp>
          <p:nvSpPr>
            <p:cNvPr id="17" name="TextBox 16">
              <a:extLst>
                <a:ext uri="{FF2B5EF4-FFF2-40B4-BE49-F238E27FC236}">
                  <a16:creationId xmlns:a16="http://schemas.microsoft.com/office/drawing/2014/main" id="{F3EC8CA1-111B-491B-96DD-E122AB0AA912}"/>
                </a:ext>
              </a:extLst>
            </p:cNvPr>
            <p:cNvSpPr txBox="1"/>
            <p:nvPr/>
          </p:nvSpPr>
          <p:spPr bwMode="gray">
            <a:xfrm>
              <a:off x="7786754" y="2049680"/>
              <a:ext cx="2933460" cy="3816429"/>
            </a:xfrm>
            <a:prstGeom prst="rect">
              <a:avLst/>
            </a:prstGeom>
            <a:noFill/>
          </p:spPr>
          <p:txBody>
            <a:bodyPr vert="horz" wrap="square" lIns="0" tIns="0" rIns="0" bIns="0" rtlCol="0">
              <a:spAutoFit/>
            </a:bodyPr>
            <a:lstStyle/>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1" i="0" u="none" strike="noStrike" kern="1200" cap="none" spc="0" normalizeH="0" baseline="0" noProof="0">
                  <a:ln>
                    <a:noFill/>
                  </a:ln>
                  <a:solidFill>
                    <a:srgbClr val="4B4D4F"/>
                  </a:solidFill>
                  <a:effectLst/>
                  <a:uLnTx/>
                  <a:uFillTx/>
                  <a:latin typeface="Arial" panose="020B0604020202020204"/>
                  <a:ea typeface="+mn-ea"/>
                  <a:cs typeface="+mn-cs"/>
                </a:rPr>
                <a:t>Industrial experiment: </a:t>
              </a: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causal inference is straightforward because laptops are identical.</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1" i="0" u="none" strike="noStrike" kern="1200" cap="none" spc="0" normalizeH="0" baseline="0" noProof="0">
                  <a:ln>
                    <a:noFill/>
                  </a:ln>
                  <a:solidFill>
                    <a:srgbClr val="4B4D4F"/>
                  </a:solidFill>
                  <a:effectLst/>
                  <a:uLnTx/>
                  <a:uFillTx/>
                  <a:latin typeface="Arial" panose="020B0604020202020204"/>
                  <a:ea typeface="+mn-ea"/>
                  <a:cs typeface="+mn-cs"/>
                </a:rPr>
                <a:t>Clinical trials: </a:t>
              </a: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causal inference is less straightforward because people aren’t identical. But </a:t>
              </a:r>
              <a:r>
                <a:rPr kumimoji="0" lang="en-US" sz="1400" b="0" i="0" u="none" strike="noStrike" kern="1200" cap="none" spc="0" normalizeH="0" baseline="0" noProof="0" err="1">
                  <a:ln>
                    <a:noFill/>
                  </a:ln>
                  <a:solidFill>
                    <a:srgbClr val="4B4D4F"/>
                  </a:solidFill>
                  <a:effectLst/>
                  <a:uLnTx/>
                  <a:uFillTx/>
                  <a:latin typeface="Arial" panose="020B0604020202020204"/>
                  <a:ea typeface="+mn-ea"/>
                  <a:cs typeface="+mn-cs"/>
                </a:rPr>
                <a:t>randomised</a:t>
              </a: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 control trials ensures treatment/control groups are comparable on average.</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1" i="0" u="none" strike="noStrike" kern="1200" cap="none" spc="0" normalizeH="0" baseline="0" noProof="0">
                  <a:ln>
                    <a:noFill/>
                  </a:ln>
                  <a:solidFill>
                    <a:srgbClr val="4B4D4F"/>
                  </a:solidFill>
                  <a:effectLst/>
                  <a:uLnTx/>
                  <a:uFillTx/>
                  <a:latin typeface="Arial" panose="020B0604020202020204"/>
                  <a:ea typeface="+mn-ea"/>
                  <a:cs typeface="+mn-cs"/>
                </a:rPr>
                <a:t>Epidemiology: </a:t>
              </a: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causal inference is challenging, because people are not identical and </a:t>
              </a:r>
              <a:r>
                <a:rPr kumimoji="0" lang="en-US" sz="1400" b="0" i="0" u="none" strike="noStrike" kern="1200" cap="none" spc="0" normalizeH="0" baseline="0" noProof="0" err="1">
                  <a:ln>
                    <a:noFill/>
                  </a:ln>
                  <a:solidFill>
                    <a:srgbClr val="4B4D4F"/>
                  </a:solidFill>
                  <a:effectLst/>
                  <a:uLnTx/>
                  <a:uFillTx/>
                  <a:latin typeface="Arial" panose="020B0604020202020204"/>
                  <a:ea typeface="+mn-ea"/>
                  <a:cs typeface="+mn-cs"/>
                </a:rPr>
                <a:t>randomisation</a:t>
              </a: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 is typically not possible. How close can we get to having comparable treatment/control groups?</a:t>
              </a:r>
            </a:p>
          </p:txBody>
        </p:sp>
      </p:grpSp>
      <p:pic>
        <p:nvPicPr>
          <p:cNvPr id="4" name="Picture 3">
            <a:extLst>
              <a:ext uri="{FF2B5EF4-FFF2-40B4-BE49-F238E27FC236}">
                <a16:creationId xmlns:a16="http://schemas.microsoft.com/office/drawing/2014/main" id="{4871A49D-6B6D-F025-2BC8-51E89ED71C2A}"/>
              </a:ext>
            </a:extLst>
          </p:cNvPr>
          <p:cNvPicPr>
            <a:picLocks noChangeAspect="1"/>
          </p:cNvPicPr>
          <p:nvPr/>
        </p:nvPicPr>
        <p:blipFill>
          <a:blip r:embed="rId2"/>
          <a:stretch>
            <a:fillRect/>
          </a:stretch>
        </p:blipFill>
        <p:spPr>
          <a:xfrm>
            <a:off x="1933293" y="2203569"/>
            <a:ext cx="609653" cy="609653"/>
          </a:xfrm>
          <a:prstGeom prst="rect">
            <a:avLst/>
          </a:prstGeom>
        </p:spPr>
      </p:pic>
    </p:spTree>
    <p:extLst>
      <p:ext uri="{BB962C8B-B14F-4D97-AF65-F5344CB8AC3E}">
        <p14:creationId xmlns:p14="http://schemas.microsoft.com/office/powerpoint/2010/main" val="26472667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A996A-02BE-4ECA-9E3D-0FAA3D102D57}"/>
              </a:ext>
            </a:extLst>
          </p:cNvPr>
          <p:cNvSpPr>
            <a:spLocks noGrp="1"/>
          </p:cNvSpPr>
          <p:nvPr>
            <p:ph type="title"/>
          </p:nvPr>
        </p:nvSpPr>
        <p:spPr/>
        <p:txBody>
          <a:bodyPr/>
          <a:lstStyle/>
          <a:p>
            <a:r>
              <a:rPr lang="en-GB"/>
              <a:t>Evaluation: limitations, documentation and building confidence</a:t>
            </a:r>
          </a:p>
        </p:txBody>
      </p:sp>
      <p:sp>
        <p:nvSpPr>
          <p:cNvPr id="3" name="Text Placeholder 1">
            <a:extLst>
              <a:ext uri="{FF2B5EF4-FFF2-40B4-BE49-F238E27FC236}">
                <a16:creationId xmlns:a16="http://schemas.microsoft.com/office/drawing/2014/main" id="{36F98B1A-2F81-4A7F-8F73-34B08A583DBB}"/>
              </a:ext>
            </a:extLst>
          </p:cNvPr>
          <p:cNvSpPr txBox="1">
            <a:spLocks/>
          </p:cNvSpPr>
          <p:nvPr/>
        </p:nvSpPr>
        <p:spPr bwMode="gray">
          <a:xfrm>
            <a:off x="457199" y="1178391"/>
            <a:ext cx="6775175" cy="4739759"/>
          </a:xfrm>
          <a:prstGeom prst="rect">
            <a:avLst/>
          </a:prstGeom>
        </p:spPr>
        <p:txBody>
          <a:bodyPr vert="horz" wrap="square" lIns="0" tIns="0" rIns="0" bIns="0" rtlCol="0" anchor="ctr">
            <a:spAutoFit/>
          </a:bodyPr>
          <a:lstStyle>
            <a:defPPr>
              <a:defRPr lang="en-US"/>
            </a:defPPr>
            <a:lvl1pPr marL="0" algn="l" defTabSz="914400" rtl="0" eaLnBrk="1" latinLnBrk="0" hangingPunct="1">
              <a:defRPr sz="200" kern="1200" spc="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b="1"/>
              <a:t>Building a defensible argument</a:t>
            </a:r>
          </a:p>
          <a:p>
            <a:pPr marL="742950" lvl="1" indent="-285750">
              <a:buFont typeface="Arial" panose="020B0604020202020204" pitchFamily="34" charset="0"/>
              <a:buChar char="•"/>
            </a:pPr>
            <a:r>
              <a:rPr lang="en-GB" sz="1400"/>
              <a:t>Evaluation documentation</a:t>
            </a:r>
          </a:p>
          <a:p>
            <a:pPr marL="1200150" lvl="2" indent="-285750">
              <a:buFont typeface="Arial" panose="020B0604020202020204" pitchFamily="34" charset="0"/>
              <a:buChar char="•"/>
            </a:pPr>
            <a:r>
              <a:rPr lang="en-GB" sz="1400"/>
              <a:t>Knowledge, awareness and transparency over strengths and weaknesses</a:t>
            </a:r>
          </a:p>
          <a:p>
            <a:pPr marL="1200150" lvl="2" indent="-285750">
              <a:buFont typeface="Arial" panose="020B0604020202020204" pitchFamily="34" charset="0"/>
              <a:buChar char="•"/>
            </a:pPr>
            <a:r>
              <a:rPr lang="en-GB" sz="1400"/>
              <a:t>Data, assumptions, methods, results</a:t>
            </a:r>
          </a:p>
          <a:p>
            <a:pPr marL="742950" lvl="1" indent="-285750">
              <a:buFont typeface="Arial" panose="020B0604020202020204" pitchFamily="34" charset="0"/>
              <a:buChar char="•"/>
            </a:pPr>
            <a:r>
              <a:rPr lang="en-GB" sz="1400"/>
              <a:t>The reader must be able to critically engage with information to draw own conclusions based on the limitations</a:t>
            </a:r>
          </a:p>
          <a:p>
            <a:pPr marL="742950" lvl="1" indent="-285750">
              <a:buFont typeface="Arial" panose="020B0604020202020204" pitchFamily="34" charset="0"/>
              <a:buChar char="•"/>
            </a:pPr>
            <a:r>
              <a:rPr lang="en-GB" sz="1400"/>
              <a:t>What else would give confidence?</a:t>
            </a:r>
          </a:p>
          <a:p>
            <a:pPr marL="1200150" lvl="2" indent="-285750">
              <a:buFont typeface="Arial" panose="020B0604020202020204" pitchFamily="34" charset="0"/>
              <a:buChar char="•"/>
            </a:pPr>
            <a:r>
              <a:rPr lang="en-GB" sz="1400"/>
              <a:t>Iterative improvement</a:t>
            </a:r>
          </a:p>
          <a:p>
            <a:pPr lvl="1"/>
            <a:endParaRPr lang="en-GB" sz="1400"/>
          </a:p>
          <a:p>
            <a:pPr marL="274320" lvl="1"/>
            <a:endParaRPr lang="en-GB" sz="1400"/>
          </a:p>
          <a:p>
            <a:r>
              <a:rPr lang="en-GB" sz="1400" b="1"/>
              <a:t>Building confidence</a:t>
            </a:r>
          </a:p>
          <a:p>
            <a:pPr marL="742950" lvl="1" indent="-285750">
              <a:buFont typeface="Arial" panose="020B0604020202020204" pitchFamily="34" charset="0"/>
              <a:buChar char="•"/>
            </a:pPr>
            <a:r>
              <a:rPr lang="en-GB" sz="1400"/>
              <a:t>Data quality – improvements over time</a:t>
            </a:r>
          </a:p>
          <a:p>
            <a:pPr marL="742950" lvl="1" indent="-285750">
              <a:buFont typeface="Arial" panose="020B0604020202020204" pitchFamily="34" charset="0"/>
              <a:buChar char="•"/>
            </a:pPr>
            <a:r>
              <a:rPr lang="en-GB" sz="1400"/>
              <a:t>Credibility / sample size / power </a:t>
            </a:r>
          </a:p>
          <a:p>
            <a:pPr marL="742950" lvl="1" indent="-285750">
              <a:buFont typeface="Arial" panose="020B0604020202020204" pitchFamily="34" charset="0"/>
              <a:buChar char="•"/>
            </a:pPr>
            <a:r>
              <a:rPr lang="en-GB" sz="1400"/>
              <a:t>Numbers to treat</a:t>
            </a:r>
          </a:p>
          <a:p>
            <a:pPr marL="742950" lvl="1" indent="-285750">
              <a:buFont typeface="Arial" panose="020B0604020202020204" pitchFamily="34" charset="0"/>
              <a:buChar char="•"/>
            </a:pPr>
            <a:r>
              <a:rPr lang="en-GB" sz="1400"/>
              <a:t>Using the Logic model assumptions</a:t>
            </a:r>
          </a:p>
          <a:p>
            <a:pPr marL="742950" lvl="1" indent="-285750">
              <a:buFont typeface="Arial" panose="020B0604020202020204" pitchFamily="34" charset="0"/>
              <a:buChar char="•"/>
            </a:pPr>
            <a:r>
              <a:rPr lang="en-GB" sz="1400"/>
              <a:t>Causality - Bradford-Hill Criteria</a:t>
            </a:r>
          </a:p>
          <a:p>
            <a:pPr lvl="1"/>
            <a:endParaRPr lang="en-GB" sz="1400"/>
          </a:p>
          <a:p>
            <a:pPr lvl="1"/>
            <a:endParaRPr lang="en-GB" sz="1400"/>
          </a:p>
          <a:p>
            <a:pPr lvl="1"/>
            <a:endParaRPr lang="en-GB" sz="1400"/>
          </a:p>
          <a:p>
            <a:pPr lvl="1"/>
            <a:endParaRPr lang="en-GB" sz="1400"/>
          </a:p>
          <a:p>
            <a:pPr lvl="1"/>
            <a:endParaRPr lang="en-GB" sz="1400"/>
          </a:p>
        </p:txBody>
      </p:sp>
      <p:sp>
        <p:nvSpPr>
          <p:cNvPr id="4" name="Rounded Rectangular Callout 6">
            <a:extLst>
              <a:ext uri="{FF2B5EF4-FFF2-40B4-BE49-F238E27FC236}">
                <a16:creationId xmlns:a16="http://schemas.microsoft.com/office/drawing/2014/main" id="{CB9F860B-C713-4B42-B240-366EA447E909}"/>
              </a:ext>
            </a:extLst>
          </p:cNvPr>
          <p:cNvSpPr/>
          <p:nvPr/>
        </p:nvSpPr>
        <p:spPr>
          <a:xfrm>
            <a:off x="7654787" y="1023730"/>
            <a:ext cx="1676400" cy="927100"/>
          </a:xfrm>
          <a:prstGeom prst="wedgeRoundRectCallout">
            <a:avLst>
              <a:gd name="adj1" fmla="val -378"/>
              <a:gd name="adj2" fmla="val 76199"/>
              <a:gd name="adj3" fmla="val 16667"/>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r>
              <a:rPr lang="en-GB" sz="1200" i="1"/>
              <a:t>Was it a good use of resources? / Did it work? / Should we do it again?</a:t>
            </a:r>
          </a:p>
        </p:txBody>
      </p:sp>
      <p:sp>
        <p:nvSpPr>
          <p:cNvPr id="5" name="Rounded Rectangular Callout 10">
            <a:extLst>
              <a:ext uri="{FF2B5EF4-FFF2-40B4-BE49-F238E27FC236}">
                <a16:creationId xmlns:a16="http://schemas.microsoft.com/office/drawing/2014/main" id="{80BCBEB6-5BC6-4C7F-83DA-2BFBBBA450FF}"/>
              </a:ext>
            </a:extLst>
          </p:cNvPr>
          <p:cNvSpPr/>
          <p:nvPr/>
        </p:nvSpPr>
        <p:spPr>
          <a:xfrm>
            <a:off x="7654787" y="2730500"/>
            <a:ext cx="1676400" cy="927100"/>
          </a:xfrm>
          <a:prstGeom prst="wedgeRoundRectCallout">
            <a:avLst>
              <a:gd name="adj1" fmla="val -378"/>
              <a:gd name="adj2" fmla="val 76199"/>
              <a:gd name="adj3" fmla="val 16667"/>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r>
              <a:rPr lang="en-GB" sz="1200" i="1"/>
              <a:t>On what?</a:t>
            </a:r>
          </a:p>
        </p:txBody>
      </p:sp>
      <p:sp>
        <p:nvSpPr>
          <p:cNvPr id="6" name="Rounded Rectangular Callout 11">
            <a:extLst>
              <a:ext uri="{FF2B5EF4-FFF2-40B4-BE49-F238E27FC236}">
                <a16:creationId xmlns:a16="http://schemas.microsoft.com/office/drawing/2014/main" id="{F0D8E7F0-8EE3-4405-8F65-FFFBFB83EA10}"/>
              </a:ext>
            </a:extLst>
          </p:cNvPr>
          <p:cNvSpPr/>
          <p:nvPr/>
        </p:nvSpPr>
        <p:spPr>
          <a:xfrm>
            <a:off x="9708874" y="3429000"/>
            <a:ext cx="1630680" cy="1079500"/>
          </a:xfrm>
          <a:prstGeom prst="wedgeRoundRectCallout">
            <a:avLst>
              <a:gd name="adj1" fmla="val 974"/>
              <a:gd name="adj2" fmla="val 75441"/>
              <a:gd name="adj3" fmla="val 16667"/>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lvl="1"/>
            <a:r>
              <a:rPr lang="en-GB" sz="1400" i="1"/>
              <a:t>…</a:t>
            </a:r>
          </a:p>
        </p:txBody>
      </p:sp>
      <p:graphicFrame>
        <p:nvGraphicFramePr>
          <p:cNvPr id="7" name="Diagram 6">
            <a:extLst>
              <a:ext uri="{FF2B5EF4-FFF2-40B4-BE49-F238E27FC236}">
                <a16:creationId xmlns:a16="http://schemas.microsoft.com/office/drawing/2014/main" id="{30C2E9ED-4ECD-4237-8FA6-EC7744057299}"/>
              </a:ext>
            </a:extLst>
          </p:cNvPr>
          <p:cNvGraphicFramePr/>
          <p:nvPr/>
        </p:nvGraphicFramePr>
        <p:xfrm>
          <a:off x="3563644" y="2693811"/>
          <a:ext cx="3668730" cy="34998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Rounded Rectangular Callout 15">
            <a:extLst>
              <a:ext uri="{FF2B5EF4-FFF2-40B4-BE49-F238E27FC236}">
                <a16:creationId xmlns:a16="http://schemas.microsoft.com/office/drawing/2014/main" id="{7965BAC7-A000-40B3-9B74-A9CED1A438FD}"/>
              </a:ext>
            </a:extLst>
          </p:cNvPr>
          <p:cNvSpPr/>
          <p:nvPr/>
        </p:nvSpPr>
        <p:spPr>
          <a:xfrm>
            <a:off x="9753600" y="1562437"/>
            <a:ext cx="1630680" cy="1079500"/>
          </a:xfrm>
          <a:prstGeom prst="wedgeRoundRectCallout">
            <a:avLst>
              <a:gd name="adj1" fmla="val 974"/>
              <a:gd name="adj2" fmla="val 75441"/>
              <a:gd name="adj3" fmla="val 16667"/>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t"/>
          <a:lstStyle/>
          <a:p>
            <a:pPr lvl="1" algn="r"/>
            <a:r>
              <a:rPr lang="en-GB" sz="1200" i="1"/>
              <a:t>Well, it depends?</a:t>
            </a:r>
          </a:p>
        </p:txBody>
      </p:sp>
      <p:sp>
        <p:nvSpPr>
          <p:cNvPr id="10" name="TextBox 9">
            <a:extLst>
              <a:ext uri="{FF2B5EF4-FFF2-40B4-BE49-F238E27FC236}">
                <a16:creationId xmlns:a16="http://schemas.microsoft.com/office/drawing/2014/main" id="{DC3F0B9D-EC0E-4892-8351-DDF7F15D3403}"/>
              </a:ext>
            </a:extLst>
          </p:cNvPr>
          <p:cNvSpPr txBox="1"/>
          <p:nvPr/>
        </p:nvSpPr>
        <p:spPr>
          <a:xfrm>
            <a:off x="6328048" y="5061139"/>
            <a:ext cx="3919061" cy="1077218"/>
          </a:xfrm>
          <a:prstGeom prst="rect">
            <a:avLst/>
          </a:prstGeom>
          <a:noFill/>
        </p:spPr>
        <p:txBody>
          <a:bodyPr wrap="square">
            <a:spAutoFit/>
          </a:bodyPr>
          <a:lstStyle/>
          <a:p>
            <a:r>
              <a:rPr lang="en-US" sz="1600" i="1"/>
              <a:t>“In what circumstances can [one] pass from [an] observed association to a verdict of causation?”</a:t>
            </a:r>
          </a:p>
          <a:p>
            <a:r>
              <a:rPr lang="en-US" sz="1600"/>
              <a:t>                                      - Bradford A. Hill</a:t>
            </a:r>
            <a:endParaRPr lang="en-GB" sz="1600"/>
          </a:p>
        </p:txBody>
      </p:sp>
      <p:sp>
        <p:nvSpPr>
          <p:cNvPr id="15" name="TextBox 14">
            <a:extLst>
              <a:ext uri="{FF2B5EF4-FFF2-40B4-BE49-F238E27FC236}">
                <a16:creationId xmlns:a16="http://schemas.microsoft.com/office/drawing/2014/main" id="{2A61F567-409B-429B-8F56-49AB857F847B}"/>
              </a:ext>
            </a:extLst>
          </p:cNvPr>
          <p:cNvSpPr txBox="1"/>
          <p:nvPr/>
        </p:nvSpPr>
        <p:spPr bwMode="gray">
          <a:xfrm>
            <a:off x="0" y="6627168"/>
            <a:ext cx="8873988" cy="230832"/>
          </a:xfrm>
          <a:prstGeom prst="rect">
            <a:avLst/>
          </a:prstGeom>
          <a:noFill/>
        </p:spPr>
        <p:txBody>
          <a:bodyPr wrap="square">
            <a:spAutoFit/>
          </a:bodyPr>
          <a:lstStyle/>
          <a:p>
            <a:r>
              <a:rPr lang="en-US" sz="900"/>
              <a:t>Further reading:</a:t>
            </a:r>
            <a:r>
              <a:rPr lang="en-US" sz="900">
                <a:hlinkClick r:id="rId7"/>
              </a:rPr>
              <a:t> Applying the Bradford Hill criteria in the 21st century: how data integration has changed causal inference in molecular epidemiology - PMC (nih.gov)</a:t>
            </a:r>
            <a:endParaRPr lang="en-GB" sz="900"/>
          </a:p>
        </p:txBody>
      </p:sp>
    </p:spTree>
    <p:extLst>
      <p:ext uri="{BB962C8B-B14F-4D97-AF65-F5344CB8AC3E}">
        <p14:creationId xmlns:p14="http://schemas.microsoft.com/office/powerpoint/2010/main" val="468776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CE1C90-BA2E-4823-8412-0803D2A9F793}"/>
              </a:ext>
            </a:extLst>
          </p:cNvPr>
          <p:cNvSpPr>
            <a:spLocks noGrp="1"/>
          </p:cNvSpPr>
          <p:nvPr>
            <p:ph type="title"/>
          </p:nvPr>
        </p:nvSpPr>
        <p:spPr bwMode="gray"/>
        <p:txBody>
          <a:bodyPr/>
          <a:lstStyle/>
          <a:p>
            <a:r>
              <a:rPr lang="en-GB">
                <a:cs typeface="Arial"/>
              </a:rPr>
              <a:t>Hypothesis testing</a:t>
            </a:r>
            <a:endParaRPr lang="en-US"/>
          </a:p>
        </p:txBody>
      </p:sp>
      <p:sp>
        <p:nvSpPr>
          <p:cNvPr id="3" name="TextBox 2">
            <a:extLst>
              <a:ext uri="{FF2B5EF4-FFF2-40B4-BE49-F238E27FC236}">
                <a16:creationId xmlns:a16="http://schemas.microsoft.com/office/drawing/2014/main" id="{E3C35CAA-DEDB-4B5B-9BD0-EC8C2EE62F4E}"/>
              </a:ext>
            </a:extLst>
          </p:cNvPr>
          <p:cNvSpPr txBox="1"/>
          <p:nvPr/>
        </p:nvSpPr>
        <p:spPr bwMode="gray">
          <a:xfrm>
            <a:off x="1080513" y="1993513"/>
            <a:ext cx="2114938" cy="200055"/>
          </a:xfrm>
          <a:prstGeom prst="rect">
            <a:avLst/>
          </a:prstGeom>
          <a:noFill/>
        </p:spPr>
        <p:txBody>
          <a:bodyPr vert="horz" wrap="square" lIns="0" tIns="0" rIns="0" bIns="0" rtlCol="0" anchor="t">
            <a:spAutoFit/>
          </a:bodyPr>
          <a:lstStyle/>
          <a:p>
            <a:pPr algn="ctr">
              <a:spcBef>
                <a:spcPts val="600"/>
              </a:spcBef>
            </a:pPr>
            <a:r>
              <a:rPr lang="en-US" sz="1300" b="1">
                <a:solidFill>
                  <a:schemeClr val="accent6"/>
                </a:solidFill>
              </a:rPr>
              <a:t>Hypothesis (</a:t>
            </a:r>
            <a:r>
              <a:rPr lang="en-US" sz="1300" i="1">
                <a:ea typeface="+mn-lt"/>
                <a:cs typeface="+mn-lt"/>
              </a:rPr>
              <a:t>H</a:t>
            </a:r>
            <a:r>
              <a:rPr lang="en-US" sz="1300" baseline="-25000">
                <a:ea typeface="+mn-lt"/>
                <a:cs typeface="+mn-lt"/>
              </a:rPr>
              <a:t>1</a:t>
            </a:r>
            <a:r>
              <a:rPr lang="en-US" sz="1300" b="1">
                <a:solidFill>
                  <a:schemeClr val="accent6"/>
                </a:solidFill>
              </a:rPr>
              <a:t>)</a:t>
            </a:r>
            <a:endParaRPr lang="en-US">
              <a:solidFill>
                <a:schemeClr val="accent6"/>
              </a:solidFill>
            </a:endParaRPr>
          </a:p>
        </p:txBody>
      </p:sp>
      <p:sp>
        <p:nvSpPr>
          <p:cNvPr id="4" name="TextBox 3">
            <a:extLst>
              <a:ext uri="{FF2B5EF4-FFF2-40B4-BE49-F238E27FC236}">
                <a16:creationId xmlns:a16="http://schemas.microsoft.com/office/drawing/2014/main" id="{2400A387-9D62-450C-BD51-F0D5EC742DF6}"/>
              </a:ext>
            </a:extLst>
          </p:cNvPr>
          <p:cNvSpPr txBox="1"/>
          <p:nvPr/>
        </p:nvSpPr>
        <p:spPr bwMode="gray">
          <a:xfrm>
            <a:off x="634220" y="2286148"/>
            <a:ext cx="3007525" cy="1000274"/>
          </a:xfrm>
          <a:prstGeom prst="rect">
            <a:avLst/>
          </a:prstGeom>
          <a:noFill/>
        </p:spPr>
        <p:txBody>
          <a:bodyPr vert="horz" wrap="square" lIns="0" tIns="0" rIns="0" bIns="0" rtlCol="0" anchor="t">
            <a:spAutoFit/>
          </a:bodyPr>
          <a:lstStyle/>
          <a:p>
            <a:pPr algn="ctr">
              <a:spcBef>
                <a:spcPts val="600"/>
              </a:spcBef>
            </a:pPr>
            <a:r>
              <a:rPr lang="en-US" sz="1300">
                <a:ea typeface="+mn-lt"/>
                <a:cs typeface="+mn-lt"/>
              </a:rPr>
              <a:t>A hypothesis, in a scientific context, is a testable statement about the relationship between two or more variables or a proposed explanation for some observed phenomenon</a:t>
            </a:r>
            <a:endParaRPr lang="en-US"/>
          </a:p>
        </p:txBody>
      </p:sp>
      <p:pic>
        <p:nvPicPr>
          <p:cNvPr id="5" name="Picture 4">
            <a:extLst>
              <a:ext uri="{FF2B5EF4-FFF2-40B4-BE49-F238E27FC236}">
                <a16:creationId xmlns:a16="http://schemas.microsoft.com/office/drawing/2014/main" id="{6900C399-DBF4-46B1-B01C-9E7488924E8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9351793" y="1250667"/>
            <a:ext cx="609601" cy="609601"/>
          </a:xfrm>
          <a:prstGeom prst="rect">
            <a:avLst/>
          </a:prstGeom>
        </p:spPr>
      </p:pic>
      <p:pic>
        <p:nvPicPr>
          <p:cNvPr id="6" name="Picture 5">
            <a:extLst>
              <a:ext uri="{FF2B5EF4-FFF2-40B4-BE49-F238E27FC236}">
                <a16:creationId xmlns:a16="http://schemas.microsoft.com/office/drawing/2014/main" id="{9F9B20AA-4283-4628-947A-2654591C849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8344227" y="3990620"/>
            <a:ext cx="609601" cy="609601"/>
          </a:xfrm>
          <a:prstGeom prst="rect">
            <a:avLst/>
          </a:prstGeom>
        </p:spPr>
      </p:pic>
      <p:pic>
        <p:nvPicPr>
          <p:cNvPr id="8" name="Picture 7">
            <a:extLst>
              <a:ext uri="{FF2B5EF4-FFF2-40B4-BE49-F238E27FC236}">
                <a16:creationId xmlns:a16="http://schemas.microsoft.com/office/drawing/2014/main" id="{C5D0504F-80CC-4295-8F8C-50E51EBAA60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2733540" y="3990620"/>
            <a:ext cx="609601" cy="609601"/>
          </a:xfrm>
          <a:prstGeom prst="rect">
            <a:avLst/>
          </a:prstGeom>
        </p:spPr>
      </p:pic>
      <p:pic>
        <p:nvPicPr>
          <p:cNvPr id="9" name="Picture 8">
            <a:extLst>
              <a:ext uri="{FF2B5EF4-FFF2-40B4-BE49-F238E27FC236}">
                <a16:creationId xmlns:a16="http://schemas.microsoft.com/office/drawing/2014/main" id="{0988102F-2736-43F0-9D8D-B4481A1DC5B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1833182" y="1250667"/>
            <a:ext cx="609601" cy="609601"/>
          </a:xfrm>
          <a:prstGeom prst="rect">
            <a:avLst/>
          </a:prstGeom>
        </p:spPr>
      </p:pic>
      <p:sp>
        <p:nvSpPr>
          <p:cNvPr id="15" name="TextBox 14">
            <a:extLst>
              <a:ext uri="{FF2B5EF4-FFF2-40B4-BE49-F238E27FC236}">
                <a16:creationId xmlns:a16="http://schemas.microsoft.com/office/drawing/2014/main" id="{0B97ECD8-2716-46C0-961B-EAA2288462E9}"/>
              </a:ext>
            </a:extLst>
          </p:cNvPr>
          <p:cNvSpPr txBox="1"/>
          <p:nvPr/>
        </p:nvSpPr>
        <p:spPr bwMode="gray">
          <a:xfrm>
            <a:off x="8482089" y="1993513"/>
            <a:ext cx="2349008" cy="200055"/>
          </a:xfrm>
          <a:prstGeom prst="rect">
            <a:avLst/>
          </a:prstGeom>
          <a:noFill/>
        </p:spPr>
        <p:txBody>
          <a:bodyPr vert="horz" wrap="square" lIns="0" tIns="0" rIns="0" bIns="0" rtlCol="0" anchor="t">
            <a:spAutoFit/>
          </a:bodyPr>
          <a:lstStyle/>
          <a:p>
            <a:pPr algn="ctr">
              <a:spcBef>
                <a:spcPts val="600"/>
              </a:spcBef>
            </a:pPr>
            <a:r>
              <a:rPr lang="en-US" sz="1300" b="1">
                <a:solidFill>
                  <a:schemeClr val="accent6"/>
                </a:solidFill>
              </a:rPr>
              <a:t>Null hypothesis (</a:t>
            </a:r>
            <a:r>
              <a:rPr lang="en-US" sz="1300" i="1">
                <a:ea typeface="+mn-lt"/>
                <a:cs typeface="+mn-lt"/>
              </a:rPr>
              <a:t>H</a:t>
            </a:r>
            <a:r>
              <a:rPr lang="en-US" sz="1300" baseline="-25000">
                <a:ea typeface="+mn-lt"/>
                <a:cs typeface="+mn-lt"/>
              </a:rPr>
              <a:t>0</a:t>
            </a:r>
            <a:r>
              <a:rPr lang="en-US" sz="1300" b="1">
                <a:solidFill>
                  <a:schemeClr val="accent6"/>
                </a:solidFill>
              </a:rPr>
              <a:t>)</a:t>
            </a:r>
            <a:endParaRPr lang="en-US" sz="1300" baseline="-25000">
              <a:solidFill>
                <a:schemeClr val="accent6"/>
              </a:solidFill>
              <a:cs typeface="Arial"/>
            </a:endParaRPr>
          </a:p>
        </p:txBody>
      </p:sp>
      <p:sp>
        <p:nvSpPr>
          <p:cNvPr id="16" name="TextBox 15">
            <a:extLst>
              <a:ext uri="{FF2B5EF4-FFF2-40B4-BE49-F238E27FC236}">
                <a16:creationId xmlns:a16="http://schemas.microsoft.com/office/drawing/2014/main" id="{858FC3CD-F10B-4430-AFF6-AF5C545AB1B1}"/>
              </a:ext>
            </a:extLst>
          </p:cNvPr>
          <p:cNvSpPr txBox="1"/>
          <p:nvPr/>
        </p:nvSpPr>
        <p:spPr bwMode="gray">
          <a:xfrm>
            <a:off x="7904379" y="2286148"/>
            <a:ext cx="3504428" cy="800219"/>
          </a:xfrm>
          <a:prstGeom prst="rect">
            <a:avLst/>
          </a:prstGeom>
          <a:noFill/>
        </p:spPr>
        <p:txBody>
          <a:bodyPr vert="horz" wrap="square" lIns="0" tIns="0" rIns="0" bIns="0" rtlCol="0" anchor="t">
            <a:spAutoFit/>
          </a:bodyPr>
          <a:lstStyle/>
          <a:p>
            <a:pPr algn="ctr">
              <a:spcBef>
                <a:spcPts val="600"/>
              </a:spcBef>
            </a:pPr>
            <a:r>
              <a:rPr lang="en-US" sz="1300">
                <a:ea typeface="+mn-lt"/>
                <a:cs typeface="+mn-lt"/>
              </a:rPr>
              <a:t>A null hypothesis is a type of statistical hypothesis that proposes that no statistical significance exists in a set of given observations. It is true until you disprove it.</a:t>
            </a:r>
            <a:endParaRPr lang="en-US"/>
          </a:p>
        </p:txBody>
      </p:sp>
      <p:sp>
        <p:nvSpPr>
          <p:cNvPr id="18" name="TextBox 17">
            <a:extLst>
              <a:ext uri="{FF2B5EF4-FFF2-40B4-BE49-F238E27FC236}">
                <a16:creationId xmlns:a16="http://schemas.microsoft.com/office/drawing/2014/main" id="{58C36747-7E01-4AEB-AFD3-ED1B46A165E7}"/>
              </a:ext>
            </a:extLst>
          </p:cNvPr>
          <p:cNvSpPr txBox="1"/>
          <p:nvPr/>
        </p:nvSpPr>
        <p:spPr bwMode="gray">
          <a:xfrm>
            <a:off x="7474524" y="4733466"/>
            <a:ext cx="2349008" cy="400110"/>
          </a:xfrm>
          <a:prstGeom prst="rect">
            <a:avLst/>
          </a:prstGeom>
          <a:noFill/>
        </p:spPr>
        <p:txBody>
          <a:bodyPr vert="horz" wrap="square" lIns="0" tIns="0" rIns="0" bIns="0" rtlCol="0" anchor="t">
            <a:spAutoFit/>
          </a:bodyPr>
          <a:lstStyle/>
          <a:p>
            <a:pPr algn="ctr">
              <a:spcBef>
                <a:spcPts val="600"/>
              </a:spcBef>
            </a:pPr>
            <a:r>
              <a:rPr lang="en-US" sz="1300" b="1">
                <a:solidFill>
                  <a:schemeClr val="accent6"/>
                </a:solidFill>
                <a:cs typeface="Arial"/>
              </a:rPr>
              <a:t>Conclusion – accept or reject your hypotheses</a:t>
            </a:r>
          </a:p>
        </p:txBody>
      </p:sp>
      <p:sp>
        <p:nvSpPr>
          <p:cNvPr id="19" name="TextBox 18">
            <a:extLst>
              <a:ext uri="{FF2B5EF4-FFF2-40B4-BE49-F238E27FC236}">
                <a16:creationId xmlns:a16="http://schemas.microsoft.com/office/drawing/2014/main" id="{CF3708C7-CF02-4C44-830F-914173689E5F}"/>
              </a:ext>
            </a:extLst>
          </p:cNvPr>
          <p:cNvSpPr txBox="1"/>
          <p:nvPr/>
        </p:nvSpPr>
        <p:spPr bwMode="gray">
          <a:xfrm>
            <a:off x="6933100" y="5225672"/>
            <a:ext cx="3504428" cy="800219"/>
          </a:xfrm>
          <a:prstGeom prst="rect">
            <a:avLst/>
          </a:prstGeom>
          <a:noFill/>
        </p:spPr>
        <p:txBody>
          <a:bodyPr vert="horz" wrap="square" lIns="0" tIns="0" rIns="0" bIns="0" rtlCol="0" anchor="t">
            <a:spAutoFit/>
          </a:bodyPr>
          <a:lstStyle/>
          <a:p>
            <a:pPr algn="ctr">
              <a:spcBef>
                <a:spcPts val="600"/>
              </a:spcBef>
            </a:pPr>
            <a:r>
              <a:rPr lang="en-US" sz="1300">
                <a:cs typeface="Arial"/>
              </a:rPr>
              <a:t>In your summary, state whether or not you accepted your hypothesis. This is a binary measure of the effectiveness of your intervention (or one aspect of it).</a:t>
            </a:r>
          </a:p>
        </p:txBody>
      </p:sp>
      <p:sp>
        <p:nvSpPr>
          <p:cNvPr id="20" name="TextBox 19">
            <a:extLst>
              <a:ext uri="{FF2B5EF4-FFF2-40B4-BE49-F238E27FC236}">
                <a16:creationId xmlns:a16="http://schemas.microsoft.com/office/drawing/2014/main" id="{07960825-1901-485B-975F-CC68CB38FAB6}"/>
              </a:ext>
            </a:extLst>
          </p:cNvPr>
          <p:cNvSpPr txBox="1"/>
          <p:nvPr/>
        </p:nvSpPr>
        <p:spPr bwMode="gray">
          <a:xfrm>
            <a:off x="1569405" y="4733466"/>
            <a:ext cx="2937871" cy="200055"/>
          </a:xfrm>
          <a:prstGeom prst="rect">
            <a:avLst/>
          </a:prstGeom>
          <a:noFill/>
        </p:spPr>
        <p:txBody>
          <a:bodyPr vert="horz" wrap="square" lIns="0" tIns="0" rIns="0" bIns="0" rtlCol="0" anchor="t">
            <a:spAutoFit/>
          </a:bodyPr>
          <a:lstStyle/>
          <a:p>
            <a:pPr algn="ctr">
              <a:spcBef>
                <a:spcPts val="600"/>
              </a:spcBef>
            </a:pPr>
            <a:r>
              <a:rPr lang="en-US" sz="1300" b="1">
                <a:solidFill>
                  <a:schemeClr val="accent6"/>
                </a:solidFill>
              </a:rPr>
              <a:t>Testing your hypothesis</a:t>
            </a:r>
            <a:endParaRPr lang="en-US">
              <a:solidFill>
                <a:schemeClr val="accent6"/>
              </a:solidFill>
            </a:endParaRPr>
          </a:p>
        </p:txBody>
      </p:sp>
      <p:sp>
        <p:nvSpPr>
          <p:cNvPr id="21" name="TextBox 20">
            <a:extLst>
              <a:ext uri="{FF2B5EF4-FFF2-40B4-BE49-F238E27FC236}">
                <a16:creationId xmlns:a16="http://schemas.microsoft.com/office/drawing/2014/main" id="{C12676B4-6EC6-4848-9224-73727D30D456}"/>
              </a:ext>
            </a:extLst>
          </p:cNvPr>
          <p:cNvSpPr txBox="1"/>
          <p:nvPr/>
        </p:nvSpPr>
        <p:spPr bwMode="gray">
          <a:xfrm>
            <a:off x="1534578" y="5026101"/>
            <a:ext cx="3007525" cy="1000274"/>
          </a:xfrm>
          <a:prstGeom prst="rect">
            <a:avLst/>
          </a:prstGeom>
          <a:noFill/>
        </p:spPr>
        <p:txBody>
          <a:bodyPr vert="horz" wrap="square" lIns="0" tIns="0" rIns="0" bIns="0" rtlCol="0" anchor="t">
            <a:spAutoFit/>
          </a:bodyPr>
          <a:lstStyle/>
          <a:p>
            <a:pPr algn="ctr">
              <a:spcBef>
                <a:spcPts val="600"/>
              </a:spcBef>
            </a:pPr>
            <a:r>
              <a:rPr lang="en-US" sz="1300"/>
              <a:t>Apply an appropriate statistical model to your analysis. Compare cohorts, or possibly time periods, and use significance to see if your outcome measures have changed</a:t>
            </a:r>
            <a:endParaRPr lang="en-US" sz="1300">
              <a:cs typeface="Arial"/>
            </a:endParaRPr>
          </a:p>
        </p:txBody>
      </p:sp>
      <p:sp>
        <p:nvSpPr>
          <p:cNvPr id="25" name="Oval 24">
            <a:extLst>
              <a:ext uri="{FF2B5EF4-FFF2-40B4-BE49-F238E27FC236}">
                <a16:creationId xmlns:a16="http://schemas.microsoft.com/office/drawing/2014/main" id="{18B3EB07-720C-462E-81AB-726E9DEE4DDD}"/>
              </a:ext>
            </a:extLst>
          </p:cNvPr>
          <p:cNvSpPr>
            <a:spLocks noChangeAspect="1"/>
          </p:cNvSpPr>
          <p:nvPr/>
        </p:nvSpPr>
        <p:spPr bwMode="gray">
          <a:xfrm>
            <a:off x="4371713" y="1383391"/>
            <a:ext cx="2966028" cy="2966029"/>
          </a:xfrm>
          <a:prstGeom prst="ellipse">
            <a:avLst/>
          </a:prstGeom>
          <a:ln w="31750" cap="rnd">
            <a:solidFill>
              <a:schemeClr val="accent6"/>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2345" tIns="31173" rIns="62345" bIns="31173" numCol="1" spcCol="0" rtlCol="0" fromWordArt="0" anchor="ctr" anchorCtr="0" forceAA="0" compatLnSpc="1">
            <a:prstTxWarp prst="textNoShape">
              <a:avLst/>
            </a:prstTxWarp>
            <a:noAutofit/>
          </a:bodyPr>
          <a:lstStyle/>
          <a:p>
            <a:pPr algn="ctr"/>
            <a:endParaRPr lang="en-US" sz="1227"/>
          </a:p>
        </p:txBody>
      </p:sp>
      <p:sp>
        <p:nvSpPr>
          <p:cNvPr id="26" name="Oval 25">
            <a:extLst>
              <a:ext uri="{FF2B5EF4-FFF2-40B4-BE49-F238E27FC236}">
                <a16:creationId xmlns:a16="http://schemas.microsoft.com/office/drawing/2014/main" id="{440DAA9A-DEA4-4603-95A2-6BED7FF493A5}"/>
              </a:ext>
            </a:extLst>
          </p:cNvPr>
          <p:cNvSpPr>
            <a:spLocks noChangeAspect="1"/>
          </p:cNvSpPr>
          <p:nvPr/>
        </p:nvSpPr>
        <p:spPr bwMode="gray">
          <a:xfrm>
            <a:off x="4305674" y="2800072"/>
            <a:ext cx="132666" cy="132666"/>
          </a:xfrm>
          <a:prstGeom prst="ellipse">
            <a:avLst/>
          </a:prstGeom>
          <a:solidFill>
            <a:schemeClr val="tx2"/>
          </a:solidFill>
          <a:ln w="19050" cap="rnd" cmpd="sng" algn="ctr">
            <a:solidFill>
              <a:srgbClr val="FFFFFF"/>
            </a:solidFill>
            <a:prstDash val="solid"/>
          </a:ln>
          <a:effectLst/>
        </p:spPr>
        <p:txBody>
          <a:bodyPr wrap="none" lIns="0" rIns="0" rtlCol="0" anchor="ctr"/>
          <a:lstStyle/>
          <a:p>
            <a:pPr algn="ctr"/>
            <a:endParaRPr lang="en-US" sz="1050" kern="0">
              <a:solidFill>
                <a:srgbClr val="FFFFFF"/>
              </a:solidFill>
              <a:latin typeface="Arial" panose="020B0604020202020204" pitchFamily="34" charset="0"/>
            </a:endParaRPr>
          </a:p>
        </p:txBody>
      </p:sp>
      <p:sp>
        <p:nvSpPr>
          <p:cNvPr id="27" name="Oval 26">
            <a:extLst>
              <a:ext uri="{FF2B5EF4-FFF2-40B4-BE49-F238E27FC236}">
                <a16:creationId xmlns:a16="http://schemas.microsoft.com/office/drawing/2014/main" id="{09DD30B8-6C84-42CB-BA12-4B41BBB80CF0}"/>
              </a:ext>
            </a:extLst>
          </p:cNvPr>
          <p:cNvSpPr>
            <a:spLocks noChangeAspect="1"/>
          </p:cNvSpPr>
          <p:nvPr/>
        </p:nvSpPr>
        <p:spPr bwMode="gray">
          <a:xfrm>
            <a:off x="4860505" y="3957263"/>
            <a:ext cx="132666" cy="132666"/>
          </a:xfrm>
          <a:prstGeom prst="ellipse">
            <a:avLst/>
          </a:prstGeom>
          <a:solidFill>
            <a:schemeClr val="tx2"/>
          </a:solidFill>
          <a:ln w="19050" cap="rnd" cmpd="sng" algn="ctr">
            <a:solidFill>
              <a:srgbClr val="FFFFFF"/>
            </a:solidFill>
            <a:prstDash val="solid"/>
          </a:ln>
          <a:effectLst/>
        </p:spPr>
        <p:txBody>
          <a:bodyPr wrap="none" lIns="0" rIns="0" rtlCol="0" anchor="ctr"/>
          <a:lstStyle/>
          <a:p>
            <a:pPr algn="ctr"/>
            <a:endParaRPr lang="en-US" sz="1050" kern="0">
              <a:solidFill>
                <a:srgbClr val="FFFFFF"/>
              </a:solidFill>
              <a:latin typeface="Arial" panose="020B0604020202020204" pitchFamily="34" charset="0"/>
            </a:endParaRPr>
          </a:p>
        </p:txBody>
      </p:sp>
      <p:sp>
        <p:nvSpPr>
          <p:cNvPr id="29" name="Oval 28">
            <a:extLst>
              <a:ext uri="{FF2B5EF4-FFF2-40B4-BE49-F238E27FC236}">
                <a16:creationId xmlns:a16="http://schemas.microsoft.com/office/drawing/2014/main" id="{EFA5C66E-5FAC-4701-B8F5-D19AE3FBF040}"/>
              </a:ext>
            </a:extLst>
          </p:cNvPr>
          <p:cNvSpPr>
            <a:spLocks noChangeAspect="1"/>
          </p:cNvSpPr>
          <p:nvPr/>
        </p:nvSpPr>
        <p:spPr bwMode="gray">
          <a:xfrm>
            <a:off x="6710734" y="3957263"/>
            <a:ext cx="132666" cy="132666"/>
          </a:xfrm>
          <a:prstGeom prst="ellipse">
            <a:avLst/>
          </a:prstGeom>
          <a:solidFill>
            <a:schemeClr val="tx2"/>
          </a:solidFill>
          <a:ln w="19050" cap="rnd" cmpd="sng" algn="ctr">
            <a:solidFill>
              <a:srgbClr val="FFFFFF"/>
            </a:solidFill>
            <a:prstDash val="solid"/>
          </a:ln>
          <a:effectLst/>
        </p:spPr>
        <p:txBody>
          <a:bodyPr wrap="none" lIns="0" rIns="0" rtlCol="0" anchor="ctr"/>
          <a:lstStyle/>
          <a:p>
            <a:pPr algn="ctr"/>
            <a:endParaRPr lang="en-US" sz="1050" kern="0">
              <a:solidFill>
                <a:srgbClr val="FFFFFF"/>
              </a:solidFill>
              <a:latin typeface="Arial" panose="020B0604020202020204" pitchFamily="34" charset="0"/>
            </a:endParaRPr>
          </a:p>
        </p:txBody>
      </p:sp>
      <p:sp>
        <p:nvSpPr>
          <p:cNvPr id="30" name="Oval 29">
            <a:extLst>
              <a:ext uri="{FF2B5EF4-FFF2-40B4-BE49-F238E27FC236}">
                <a16:creationId xmlns:a16="http://schemas.microsoft.com/office/drawing/2014/main" id="{3EEF13E8-A9BE-42F7-AA45-BC5411E35484}"/>
              </a:ext>
            </a:extLst>
          </p:cNvPr>
          <p:cNvSpPr>
            <a:spLocks noChangeAspect="1"/>
          </p:cNvSpPr>
          <p:nvPr/>
        </p:nvSpPr>
        <p:spPr bwMode="gray">
          <a:xfrm>
            <a:off x="7271110" y="2800072"/>
            <a:ext cx="132666" cy="132666"/>
          </a:xfrm>
          <a:prstGeom prst="ellipse">
            <a:avLst/>
          </a:prstGeom>
          <a:solidFill>
            <a:schemeClr val="tx2"/>
          </a:solidFill>
          <a:ln w="19050" cap="rnd" cmpd="sng" algn="ctr">
            <a:solidFill>
              <a:srgbClr val="FFFFFF"/>
            </a:solidFill>
            <a:prstDash val="solid"/>
          </a:ln>
          <a:effectLst/>
        </p:spPr>
        <p:txBody>
          <a:bodyPr wrap="none" lIns="0" rIns="0" rtlCol="0" anchor="ctr"/>
          <a:lstStyle/>
          <a:p>
            <a:pPr algn="ctr"/>
            <a:endParaRPr lang="en-US" sz="1050" kern="0">
              <a:solidFill>
                <a:srgbClr val="FFFFFF"/>
              </a:solidFill>
              <a:latin typeface="Arial" panose="020B0604020202020204" pitchFamily="34" charset="0"/>
            </a:endParaRPr>
          </a:p>
        </p:txBody>
      </p:sp>
      <p:pic>
        <p:nvPicPr>
          <p:cNvPr id="31" name="Picture 30">
            <a:extLst>
              <a:ext uri="{FF2B5EF4-FFF2-40B4-BE49-F238E27FC236}">
                <a16:creationId xmlns:a16="http://schemas.microsoft.com/office/drawing/2014/main" id="{B6871F2A-F1FB-42B4-B1F3-95D0AAE92B85}"/>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bwMode="gray">
          <a:xfrm>
            <a:off x="4743731" y="1755410"/>
            <a:ext cx="2221992" cy="2221992"/>
          </a:xfrm>
          <a:prstGeom prst="ellipse">
            <a:avLst/>
          </a:prstGeom>
          <a:solidFill>
            <a:schemeClr val="bg1"/>
          </a:solidFill>
          <a:ln w="38100">
            <a:noFill/>
          </a:ln>
          <a:effectLst/>
        </p:spPr>
      </p:pic>
    </p:spTree>
    <p:extLst>
      <p:ext uri="{BB962C8B-B14F-4D97-AF65-F5344CB8AC3E}">
        <p14:creationId xmlns:p14="http://schemas.microsoft.com/office/powerpoint/2010/main" val="32772659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6257" y="0"/>
            <a:ext cx="11768977" cy="731520"/>
          </a:xfrm>
          <a:prstGeom prst="rect">
            <a:avLst/>
          </a:prstGeom>
        </p:spPr>
        <p:txBody>
          <a:bodyPr anchor="b">
            <a:normAutofit/>
          </a:bodyPr>
          <a:lstStyle/>
          <a:p>
            <a:r>
              <a:rPr lang="en-GB"/>
              <a:t>Objectives for the session</a:t>
            </a:r>
          </a:p>
        </p:txBody>
      </p:sp>
      <p:sp>
        <p:nvSpPr>
          <p:cNvPr id="8" name="Slide Number Placeholder 3"/>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1E112CC-F5C7-5E43-8EAA-F554FEB5E453}" type="slidenum">
              <a:rPr kumimoji="0" lang="en-US" sz="200" b="0" i="0" u="none" strike="noStrike" kern="1200" cap="none" spc="0" normalizeH="0" baseline="0" noProof="0" smtClean="0">
                <a:ln>
                  <a:noFill/>
                </a:ln>
                <a:solidFill>
                  <a:srgbClr val="005EB8"/>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a:t>
            </a:fld>
            <a:endParaRPr kumimoji="0" lang="en-US" sz="200" b="0" i="0" u="none" strike="noStrike" kern="1200" cap="none" spc="0" normalizeH="0" baseline="0" noProof="0">
              <a:ln>
                <a:noFill/>
              </a:ln>
              <a:solidFill>
                <a:srgbClr val="005EB8"/>
              </a:solidFill>
              <a:effectLst/>
              <a:uLnTx/>
              <a:uFillTx/>
              <a:latin typeface="Arial" panose="020B0604020202020204"/>
              <a:ea typeface="+mn-ea"/>
              <a:cs typeface="+mn-cs"/>
            </a:endParaRPr>
          </a:p>
        </p:txBody>
      </p:sp>
      <p:sp>
        <p:nvSpPr>
          <p:cNvPr id="3" name="Text Placeholder 2"/>
          <p:cNvSpPr>
            <a:spLocks noGrp="1"/>
          </p:cNvSpPr>
          <p:nvPr>
            <p:ph type="body" sz="quarter" idx="11"/>
          </p:nvPr>
        </p:nvSpPr>
        <p:spPr>
          <a:xfrm>
            <a:off x="678940" y="1245327"/>
            <a:ext cx="10834120" cy="4103704"/>
          </a:xfrm>
          <a:solidFill>
            <a:schemeClr val="tx2">
              <a:lumMod val="60000"/>
              <a:lumOff val="40000"/>
            </a:schemeClr>
          </a:solidFill>
          <a:effectLst>
            <a:outerShdw blurRad="63500" sx="102000" sy="102000" algn="ctr" rotWithShape="0">
              <a:prstClr val="black">
                <a:alpha val="40000"/>
              </a:prstClr>
            </a:outerShdw>
          </a:effectLst>
        </p:spPr>
        <p:txBody>
          <a:bodyPr>
            <a:normAutofit/>
          </a:bodyPr>
          <a:lstStyle/>
          <a:p>
            <a:pPr>
              <a:spcBef>
                <a:spcPts val="2400"/>
              </a:spcBef>
            </a:pPr>
            <a:r>
              <a:rPr lang="en-US" sz="1800" b="1">
                <a:solidFill>
                  <a:schemeClr val="bg2">
                    <a:lumMod val="10000"/>
                  </a:schemeClr>
                </a:solidFill>
              </a:rPr>
              <a:t>We will:</a:t>
            </a:r>
          </a:p>
          <a:p>
            <a:pPr marL="285750" indent="-285750">
              <a:spcBef>
                <a:spcPts val="2400"/>
              </a:spcBef>
              <a:buClr>
                <a:schemeClr val="bg1"/>
              </a:buClr>
              <a:buFont typeface="Arial" panose="020B0604020202020204" pitchFamily="34" charset="0"/>
              <a:buChar char="•"/>
            </a:pPr>
            <a:r>
              <a:rPr lang="en-US" sz="1800">
                <a:solidFill>
                  <a:schemeClr val="bg2">
                    <a:lumMod val="10000"/>
                  </a:schemeClr>
                </a:solidFill>
              </a:rPr>
              <a:t>Recap on the types of quantitative data and methods of collection</a:t>
            </a:r>
          </a:p>
          <a:p>
            <a:pPr marL="285750" indent="-285750">
              <a:spcBef>
                <a:spcPts val="2400"/>
              </a:spcBef>
              <a:buClr>
                <a:schemeClr val="bg1"/>
              </a:buClr>
              <a:buFont typeface="Arial" panose="020B0604020202020204" pitchFamily="34" charset="0"/>
              <a:buChar char="•"/>
            </a:pPr>
            <a:r>
              <a:rPr lang="en-US" sz="1800">
                <a:solidFill>
                  <a:schemeClr val="bg2">
                    <a:lumMod val="10000"/>
                  </a:schemeClr>
                </a:solidFill>
              </a:rPr>
              <a:t>Explore different evaluation study designs</a:t>
            </a:r>
          </a:p>
          <a:p>
            <a:pPr marL="285750" indent="-285750">
              <a:spcBef>
                <a:spcPts val="2400"/>
              </a:spcBef>
              <a:buClr>
                <a:schemeClr val="bg1"/>
              </a:buClr>
              <a:buFont typeface="Arial" panose="020B0604020202020204" pitchFamily="34" charset="0"/>
              <a:buChar char="•"/>
            </a:pPr>
            <a:r>
              <a:rPr lang="en-US" sz="1800">
                <a:solidFill>
                  <a:schemeClr val="bg2">
                    <a:lumMod val="10000"/>
                  </a:schemeClr>
                </a:solidFill>
              </a:rPr>
              <a:t>Focus on analytical approaches to disentangle causality from association </a:t>
            </a:r>
          </a:p>
          <a:p>
            <a:pPr marL="285750" indent="-285750">
              <a:spcBef>
                <a:spcPts val="2400"/>
              </a:spcBef>
              <a:buClr>
                <a:schemeClr val="bg1"/>
              </a:buClr>
              <a:buFont typeface="Arial" panose="020B0604020202020204" pitchFamily="34" charset="0"/>
              <a:buChar char="•"/>
            </a:pPr>
            <a:r>
              <a:rPr lang="en-US" sz="1800">
                <a:solidFill>
                  <a:schemeClr val="bg2">
                    <a:lumMod val="10000"/>
                  </a:schemeClr>
                </a:solidFill>
              </a:rPr>
              <a:t>Consider methods to measure impact</a:t>
            </a:r>
          </a:p>
          <a:p>
            <a:pPr>
              <a:spcBef>
                <a:spcPts val="2400"/>
              </a:spcBef>
            </a:pPr>
            <a:endParaRPr lang="en-US" sz="1800" b="1">
              <a:solidFill>
                <a:schemeClr val="bg2">
                  <a:lumMod val="10000"/>
                </a:schemeClr>
              </a:solidFill>
            </a:endParaRPr>
          </a:p>
          <a:p>
            <a:pPr>
              <a:spcBef>
                <a:spcPts val="2400"/>
              </a:spcBef>
            </a:pPr>
            <a:endParaRPr lang="en-US" sz="1800" b="1">
              <a:solidFill>
                <a:schemeClr val="bg2">
                  <a:lumMod val="10000"/>
                </a:schemeClr>
              </a:solidFill>
            </a:endParaRPr>
          </a:p>
        </p:txBody>
      </p:sp>
    </p:spTree>
    <p:extLst>
      <p:ext uri="{BB962C8B-B14F-4D97-AF65-F5344CB8AC3E}">
        <p14:creationId xmlns:p14="http://schemas.microsoft.com/office/powerpoint/2010/main" val="7693459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EB311-D221-4916-A540-0CD33231180C}"/>
              </a:ext>
            </a:extLst>
          </p:cNvPr>
          <p:cNvSpPr>
            <a:spLocks noGrp="1"/>
          </p:cNvSpPr>
          <p:nvPr>
            <p:ph type="title"/>
          </p:nvPr>
        </p:nvSpPr>
        <p:spPr/>
        <p:txBody>
          <a:bodyPr/>
          <a:lstStyle/>
          <a:p>
            <a:r>
              <a:rPr lang="en-US"/>
              <a:t>Confidence intervals</a:t>
            </a:r>
          </a:p>
        </p:txBody>
      </p:sp>
      <p:sp>
        <p:nvSpPr>
          <p:cNvPr id="9" name="Rectangle 8">
            <a:extLst>
              <a:ext uri="{FF2B5EF4-FFF2-40B4-BE49-F238E27FC236}">
                <a16:creationId xmlns:a16="http://schemas.microsoft.com/office/drawing/2014/main" id="{A10E0D48-BE8C-45D6-9CA6-A53F59075525}"/>
              </a:ext>
            </a:extLst>
          </p:cNvPr>
          <p:cNvSpPr/>
          <p:nvPr/>
        </p:nvSpPr>
        <p:spPr bwMode="gray">
          <a:xfrm>
            <a:off x="968226" y="1815125"/>
            <a:ext cx="4439285" cy="3939130"/>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ctr"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US" sz="1400" b="0" i="0" u="none" strike="noStrike" kern="1200" cap="none" spc="0" normalizeH="0" baseline="0" noProof="0">
              <a:ln>
                <a:noFill/>
              </a:ln>
              <a:solidFill>
                <a:schemeClr val="accent6"/>
              </a:solidFill>
              <a:effectLst/>
              <a:uLnTx/>
              <a:uFillTx/>
              <a:latin typeface="Arial" panose="020B0604020202020204"/>
              <a:ea typeface="+mn-ea"/>
              <a:cs typeface="+mn-cs"/>
            </a:endParaRPr>
          </a:p>
          <a:p>
            <a:pPr marR="0" lvl="0" defTabSz="914400" rtl="0" eaLnBrk="1" fontAlgn="auto" latinLnBrk="0" hangingPunct="1">
              <a:lnSpc>
                <a:spcPct val="100000"/>
              </a:lnSpc>
              <a:spcBef>
                <a:spcPts val="600"/>
              </a:spcBef>
              <a:spcAft>
                <a:spcPts val="2000"/>
              </a:spcAft>
              <a:buClrTx/>
              <a:buSzTx/>
              <a:tabLst/>
              <a:defRPr/>
            </a:pPr>
            <a:r>
              <a:rPr lang="en-US" sz="1600" b="1">
                <a:solidFill>
                  <a:schemeClr val="accent6"/>
                </a:solidFill>
                <a:latin typeface="Arial" panose="020B0604020202020204"/>
              </a:rPr>
              <a:t>What are confidence intervals?</a:t>
            </a:r>
            <a:endParaRPr kumimoji="0" lang="en-US" sz="1400" b="0" i="0" u="none" strike="noStrike" kern="1200" cap="none" spc="0" normalizeH="0" baseline="0" noProof="0">
              <a:ln>
                <a:noFill/>
              </a:ln>
              <a:solidFill>
                <a:schemeClr val="accent6"/>
              </a:solidFill>
              <a:effectLst/>
              <a:uLnTx/>
              <a:uFillTx/>
              <a:latin typeface="Arial" panose="020B0604020202020204"/>
              <a:ea typeface="+mn-ea"/>
              <a:cs typeface="+mn-cs"/>
            </a:endParaRPr>
          </a:p>
          <a:p>
            <a:pPr marL="285750" marR="0" lvl="0" indent="-285750"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u="none" strike="noStrike" kern="1200" cap="none" spc="0" normalizeH="0" baseline="0" noProof="0">
                <a:ln>
                  <a:noFill/>
                </a:ln>
                <a:solidFill>
                  <a:schemeClr val="accent6"/>
                </a:solidFill>
                <a:effectLst/>
                <a:uLnTx/>
                <a:uFillTx/>
                <a:latin typeface="Arial" panose="020B0604020202020204"/>
                <a:ea typeface="+mn-ea"/>
                <a:cs typeface="+mn-cs"/>
              </a:rPr>
              <a:t>A measure of the statistical precision of an estimate and shows the range of uncertainty around the calculated estimate. </a:t>
            </a:r>
          </a:p>
          <a:p>
            <a:pPr marL="285750" marR="0" lvl="0" indent="-285750"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u="none" strike="noStrike" kern="1200" cap="none" spc="0" normalizeH="0" baseline="0" noProof="0">
                <a:ln>
                  <a:noFill/>
                </a:ln>
                <a:solidFill>
                  <a:schemeClr val="accent6"/>
                </a:solidFill>
                <a:effectLst/>
                <a:uLnTx/>
                <a:uFillTx/>
                <a:latin typeface="Arial" panose="020B0604020202020204"/>
                <a:ea typeface="+mn-ea"/>
                <a:cs typeface="+mn-cs"/>
              </a:rPr>
              <a:t>Lower and upper 95% confidence intervals are calculated. </a:t>
            </a:r>
          </a:p>
          <a:p>
            <a:pPr marL="285750" marR="0" lvl="0" indent="-285750"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u="none" strike="noStrike" kern="1200" cap="none" spc="0" normalizeH="0" baseline="0" noProof="0">
                <a:ln>
                  <a:noFill/>
                </a:ln>
                <a:solidFill>
                  <a:schemeClr val="accent6"/>
                </a:solidFill>
                <a:effectLst/>
                <a:uLnTx/>
                <a:uFillTx/>
                <a:latin typeface="Arial" panose="020B0604020202020204"/>
                <a:ea typeface="+mn-ea"/>
                <a:cs typeface="+mn-cs"/>
              </a:rPr>
              <a:t>At the 95% confidence level, over many repeats of a survey under the same conditions, one would expect that the confidence interval would contain the true population value 95 times out of 100. </a:t>
            </a:r>
          </a:p>
          <a:p>
            <a:pPr marL="285750" marR="0" lvl="0" indent="-285750"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u="none" strike="noStrike" kern="1200" cap="none" spc="0" normalizeH="0" baseline="0" noProof="0">
                <a:ln>
                  <a:noFill/>
                </a:ln>
                <a:solidFill>
                  <a:schemeClr val="accent6"/>
                </a:solidFill>
                <a:effectLst/>
                <a:uLnTx/>
                <a:uFillTx/>
                <a:latin typeface="Arial" panose="020B0604020202020204"/>
                <a:ea typeface="+mn-ea"/>
                <a:cs typeface="+mn-cs"/>
              </a:rPr>
              <a:t>Narrower confidence intervals (difference between lower and upper interval) indicate a more precise estimate. </a:t>
            </a:r>
          </a:p>
        </p:txBody>
      </p:sp>
      <p:pic>
        <p:nvPicPr>
          <p:cNvPr id="3" name="Picture 2">
            <a:extLst>
              <a:ext uri="{FF2B5EF4-FFF2-40B4-BE49-F238E27FC236}">
                <a16:creationId xmlns:a16="http://schemas.microsoft.com/office/drawing/2014/main" id="{73A3A690-B9AD-2142-ACAF-E02E96F43253}"/>
              </a:ext>
            </a:extLst>
          </p:cNvPr>
          <p:cNvPicPr>
            <a:picLocks noChangeAspect="1"/>
          </p:cNvPicPr>
          <p:nvPr/>
        </p:nvPicPr>
        <p:blipFill>
          <a:blip r:embed="rId2"/>
          <a:stretch>
            <a:fillRect/>
          </a:stretch>
        </p:blipFill>
        <p:spPr>
          <a:xfrm>
            <a:off x="6018964" y="2000083"/>
            <a:ext cx="4785775" cy="3584759"/>
          </a:xfrm>
          <a:prstGeom prst="rect">
            <a:avLst/>
          </a:prstGeom>
        </p:spPr>
      </p:pic>
      <p:pic>
        <p:nvPicPr>
          <p:cNvPr id="4" name="Picture 3">
            <a:extLst>
              <a:ext uri="{FF2B5EF4-FFF2-40B4-BE49-F238E27FC236}">
                <a16:creationId xmlns:a16="http://schemas.microsoft.com/office/drawing/2014/main" id="{DC09D156-6DBB-E9AF-88A4-CF886440B9C2}"/>
              </a:ext>
            </a:extLst>
          </p:cNvPr>
          <p:cNvPicPr>
            <a:picLocks noChangeAspect="1"/>
          </p:cNvPicPr>
          <p:nvPr/>
        </p:nvPicPr>
        <p:blipFill>
          <a:blip r:embed="rId3"/>
          <a:stretch>
            <a:fillRect/>
          </a:stretch>
        </p:blipFill>
        <p:spPr>
          <a:xfrm>
            <a:off x="4214037" y="2071227"/>
            <a:ext cx="609653" cy="609653"/>
          </a:xfrm>
          <a:prstGeom prst="rect">
            <a:avLst/>
          </a:prstGeom>
        </p:spPr>
      </p:pic>
    </p:spTree>
    <p:extLst>
      <p:ext uri="{BB962C8B-B14F-4D97-AF65-F5344CB8AC3E}">
        <p14:creationId xmlns:p14="http://schemas.microsoft.com/office/powerpoint/2010/main" val="10762673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EB311-D221-4916-A540-0CD33231180C}"/>
              </a:ext>
            </a:extLst>
          </p:cNvPr>
          <p:cNvSpPr>
            <a:spLocks noGrp="1"/>
          </p:cNvSpPr>
          <p:nvPr>
            <p:ph type="title"/>
          </p:nvPr>
        </p:nvSpPr>
        <p:spPr/>
        <p:txBody>
          <a:bodyPr/>
          <a:lstStyle/>
          <a:p>
            <a:r>
              <a:rPr lang="en-US"/>
              <a:t>Significance and P values</a:t>
            </a:r>
          </a:p>
        </p:txBody>
      </p:sp>
      <p:sp>
        <p:nvSpPr>
          <p:cNvPr id="9" name="Rectangle 8">
            <a:extLst>
              <a:ext uri="{FF2B5EF4-FFF2-40B4-BE49-F238E27FC236}">
                <a16:creationId xmlns:a16="http://schemas.microsoft.com/office/drawing/2014/main" id="{A10E0D48-BE8C-45D6-9CA6-A53F59075525}"/>
              </a:ext>
            </a:extLst>
          </p:cNvPr>
          <p:cNvSpPr/>
          <p:nvPr/>
        </p:nvSpPr>
        <p:spPr bwMode="gray">
          <a:xfrm>
            <a:off x="968226" y="1815124"/>
            <a:ext cx="4439285" cy="4179275"/>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defTabSz="914400" rtl="0" eaLnBrk="1" fontAlgn="auto" latinLnBrk="0" hangingPunct="1">
              <a:lnSpc>
                <a:spcPct val="100000"/>
              </a:lnSpc>
              <a:spcBef>
                <a:spcPts val="600"/>
              </a:spcBef>
              <a:spcAft>
                <a:spcPts val="2000"/>
              </a:spcAft>
              <a:buClrTx/>
              <a:buSzTx/>
              <a:tabLst/>
              <a:defRPr/>
            </a:pPr>
            <a:r>
              <a:rPr lang="en-US" sz="1600" b="1">
                <a:solidFill>
                  <a:schemeClr val="accent6"/>
                </a:solidFill>
                <a:latin typeface="Arial" panose="020B0604020202020204"/>
              </a:rPr>
              <a:t>What is statistical significance?</a:t>
            </a:r>
            <a:endParaRPr kumimoji="0" lang="en-US" sz="1400" b="0" i="0" u="none" strike="noStrike" kern="1200" cap="none" spc="0" normalizeH="0" baseline="0" noProof="0">
              <a:ln>
                <a:noFill/>
              </a:ln>
              <a:solidFill>
                <a:schemeClr val="accent6"/>
              </a:solidFill>
              <a:effectLst/>
              <a:uLnTx/>
              <a:uFillTx/>
              <a:latin typeface="Arial" panose="020B0604020202020204"/>
              <a:ea typeface="+mn-ea"/>
              <a:cs typeface="+mn-cs"/>
            </a:endParaRPr>
          </a:p>
          <a:p>
            <a:pPr marL="285750" marR="0" lvl="0" indent="-285750"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u="none" strike="noStrike" kern="1200" cap="none" spc="0" normalizeH="0" baseline="0" noProof="0">
                <a:ln>
                  <a:noFill/>
                </a:ln>
                <a:solidFill>
                  <a:schemeClr val="accent6"/>
                </a:solidFill>
                <a:effectLst/>
                <a:uLnTx/>
                <a:uFillTx/>
                <a:latin typeface="Arial" panose="020B0604020202020204"/>
                <a:ea typeface="+mn-ea"/>
                <a:cs typeface="+mn-cs"/>
              </a:rPr>
              <a:t>Statistical significance is usually denoted by a p-value, or probability value. Statistical significance is arbitrary – it depends on the threshold, or alpha value, chosen by the researcher. The most common threshold is p &lt; 0.05, which means that the data is likely to occur less than 5% of the time under the null hypothesis</a:t>
            </a:r>
          </a:p>
          <a:p>
            <a:pPr marL="285750" marR="0" lvl="0" indent="-285750"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u="none" strike="noStrike" kern="1200" cap="none" spc="0" normalizeH="0" baseline="0" noProof="0">
                <a:ln>
                  <a:noFill/>
                </a:ln>
                <a:solidFill>
                  <a:schemeClr val="accent6"/>
                </a:solidFill>
                <a:effectLst/>
                <a:uLnTx/>
                <a:uFillTx/>
                <a:latin typeface="Arial" panose="020B0604020202020204"/>
                <a:ea typeface="+mn-ea"/>
                <a:cs typeface="+mn-cs"/>
              </a:rPr>
              <a:t>It is importance to put statistical significance in context alongside other types of significance, such as financial significance and clinical significance. Just because something has changed statistically, it doesn’t mean it will be life-changing to a patient’s health or the financial situation of an Integrated Care System</a:t>
            </a:r>
          </a:p>
        </p:txBody>
      </p:sp>
      <p:pic>
        <p:nvPicPr>
          <p:cNvPr id="5" name="Picture 4">
            <a:extLst>
              <a:ext uri="{FF2B5EF4-FFF2-40B4-BE49-F238E27FC236}">
                <a16:creationId xmlns:a16="http://schemas.microsoft.com/office/drawing/2014/main" id="{F58EF5CD-168E-16F4-EA65-B65FD55D704B}"/>
              </a:ext>
            </a:extLst>
          </p:cNvPr>
          <p:cNvPicPr>
            <a:picLocks noChangeAspect="1"/>
          </p:cNvPicPr>
          <p:nvPr/>
        </p:nvPicPr>
        <p:blipFill>
          <a:blip r:embed="rId2"/>
          <a:stretch>
            <a:fillRect/>
          </a:stretch>
        </p:blipFill>
        <p:spPr>
          <a:xfrm>
            <a:off x="4027026" y="1888150"/>
            <a:ext cx="609653" cy="609653"/>
          </a:xfrm>
          <a:prstGeom prst="rect">
            <a:avLst/>
          </a:prstGeom>
        </p:spPr>
      </p:pic>
      <p:pic>
        <p:nvPicPr>
          <p:cNvPr id="6" name="Picture 5">
            <a:extLst>
              <a:ext uri="{FF2B5EF4-FFF2-40B4-BE49-F238E27FC236}">
                <a16:creationId xmlns:a16="http://schemas.microsoft.com/office/drawing/2014/main" id="{817C8A48-2C5B-EA8D-53A6-0B42C31F70DB}"/>
              </a:ext>
            </a:extLst>
          </p:cNvPr>
          <p:cNvPicPr>
            <a:picLocks noChangeAspect="1"/>
          </p:cNvPicPr>
          <p:nvPr/>
        </p:nvPicPr>
        <p:blipFill>
          <a:blip r:embed="rId3"/>
          <a:stretch>
            <a:fillRect/>
          </a:stretch>
        </p:blipFill>
        <p:spPr>
          <a:xfrm>
            <a:off x="6144315" y="1357574"/>
            <a:ext cx="4540023" cy="2869451"/>
          </a:xfrm>
          <a:prstGeom prst="rect">
            <a:avLst/>
          </a:prstGeom>
        </p:spPr>
      </p:pic>
      <p:pic>
        <p:nvPicPr>
          <p:cNvPr id="11" name="Picture 10">
            <a:extLst>
              <a:ext uri="{FF2B5EF4-FFF2-40B4-BE49-F238E27FC236}">
                <a16:creationId xmlns:a16="http://schemas.microsoft.com/office/drawing/2014/main" id="{0FFBB77B-3BDB-B600-C336-4F0929D9C9A7}"/>
              </a:ext>
            </a:extLst>
          </p:cNvPr>
          <p:cNvPicPr>
            <a:picLocks noChangeAspect="1"/>
          </p:cNvPicPr>
          <p:nvPr/>
        </p:nvPicPr>
        <p:blipFill>
          <a:blip r:embed="rId4"/>
          <a:stretch>
            <a:fillRect/>
          </a:stretch>
        </p:blipFill>
        <p:spPr>
          <a:xfrm>
            <a:off x="6577972" y="4430680"/>
            <a:ext cx="3702101" cy="1374113"/>
          </a:xfrm>
          <a:prstGeom prst="rect">
            <a:avLst/>
          </a:prstGeom>
        </p:spPr>
      </p:pic>
      <p:cxnSp>
        <p:nvCxnSpPr>
          <p:cNvPr id="14" name="Straight Connector 13">
            <a:extLst>
              <a:ext uri="{FF2B5EF4-FFF2-40B4-BE49-F238E27FC236}">
                <a16:creationId xmlns:a16="http://schemas.microsoft.com/office/drawing/2014/main" id="{8DAFE3B3-B77E-3F31-47FC-9E9D2EE0DE24}"/>
              </a:ext>
            </a:extLst>
          </p:cNvPr>
          <p:cNvCxnSpPr/>
          <p:nvPr/>
        </p:nvCxnSpPr>
        <p:spPr bwMode="gray">
          <a:xfrm>
            <a:off x="6096000" y="4294910"/>
            <a:ext cx="4636655" cy="0"/>
          </a:xfrm>
          <a:prstGeom prst="line">
            <a:avLst/>
          </a:prstGeom>
          <a:ln w="28575"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73944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018D4-1980-FABD-06EA-F906DB696CAF}"/>
              </a:ext>
            </a:extLst>
          </p:cNvPr>
          <p:cNvSpPr>
            <a:spLocks noGrp="1"/>
          </p:cNvSpPr>
          <p:nvPr>
            <p:ph type="title"/>
          </p:nvPr>
        </p:nvSpPr>
        <p:spPr/>
        <p:txBody>
          <a:bodyPr/>
          <a:lstStyle/>
          <a:p>
            <a:r>
              <a:rPr lang="en-GB"/>
              <a:t>Population sizes and Power of studies</a:t>
            </a:r>
            <a:endParaRPr lang="en-US"/>
          </a:p>
        </p:txBody>
      </p:sp>
      <p:sp>
        <p:nvSpPr>
          <p:cNvPr id="3" name="Text Placeholder 2">
            <a:extLst>
              <a:ext uri="{FF2B5EF4-FFF2-40B4-BE49-F238E27FC236}">
                <a16:creationId xmlns:a16="http://schemas.microsoft.com/office/drawing/2014/main" id="{F29F6057-CBFA-5A78-DBE3-0166C7C3A5FF}"/>
              </a:ext>
            </a:extLst>
          </p:cNvPr>
          <p:cNvSpPr>
            <a:spLocks noGrp="1"/>
          </p:cNvSpPr>
          <p:nvPr>
            <p:ph type="body" sz="quarter" idx="11"/>
          </p:nvPr>
        </p:nvSpPr>
        <p:spPr>
          <a:xfrm>
            <a:off x="1077158" y="1498107"/>
            <a:ext cx="9753600" cy="4043711"/>
          </a:xfrm>
          <a:solidFill>
            <a:srgbClr val="FBF9F4"/>
          </a:solidFill>
        </p:spPr>
        <p:txBody>
          <a:bodyPr>
            <a:noAutofit/>
          </a:bodyPr>
          <a:lstStyle/>
          <a:p>
            <a:pPr>
              <a:spcAft>
                <a:spcPts val="1600"/>
              </a:spcAft>
            </a:pPr>
            <a:r>
              <a:rPr lang="en-US" sz="1600" b="1">
                <a:solidFill>
                  <a:schemeClr val="accent6"/>
                </a:solidFill>
              </a:rPr>
              <a:t>Key points:</a:t>
            </a:r>
          </a:p>
          <a:p>
            <a:pPr marL="285750" indent="-285750">
              <a:spcAft>
                <a:spcPts val="1600"/>
              </a:spcAft>
              <a:buClr>
                <a:schemeClr val="tx2"/>
              </a:buClr>
              <a:buFont typeface="Arial" panose="020B0604020202020204" pitchFamily="34" charset="0"/>
              <a:buChar char="•"/>
            </a:pPr>
            <a:r>
              <a:rPr lang="en-US" sz="1600">
                <a:solidFill>
                  <a:schemeClr val="accent6"/>
                </a:solidFill>
              </a:rPr>
              <a:t>Statistical power, or sensitivity, is the likelihood of a significance test detecting an effect when there actually is one.</a:t>
            </a:r>
          </a:p>
          <a:p>
            <a:pPr marL="285750" indent="-285750">
              <a:spcAft>
                <a:spcPts val="1600"/>
              </a:spcAft>
              <a:buClr>
                <a:schemeClr val="tx2"/>
              </a:buClr>
              <a:buFont typeface="Arial" panose="020B0604020202020204" pitchFamily="34" charset="0"/>
              <a:buChar char="•"/>
            </a:pPr>
            <a:r>
              <a:rPr lang="en-US" sz="1600">
                <a:solidFill>
                  <a:schemeClr val="accent6"/>
                </a:solidFill>
              </a:rPr>
              <a:t>A true effect is a real, non-zero relationship between variables in a population. An effect is usually indicated by a real difference between groups or a correlation between variables.</a:t>
            </a:r>
          </a:p>
          <a:p>
            <a:pPr marL="285750" indent="-285750">
              <a:spcAft>
                <a:spcPts val="1600"/>
              </a:spcAft>
              <a:buClr>
                <a:schemeClr val="tx2"/>
              </a:buClr>
              <a:buFont typeface="Arial" panose="020B0604020202020204" pitchFamily="34" charset="0"/>
              <a:buChar char="•"/>
            </a:pPr>
            <a:r>
              <a:rPr lang="en-US" sz="1600">
                <a:solidFill>
                  <a:schemeClr val="accent6"/>
                </a:solidFill>
              </a:rPr>
              <a:t>High power in a study indicates a large chance of a test detecting a true effect. Low power means that your test only has a small chance of detecting a true effect or that the results are likely to be distorted by random and systematic error.</a:t>
            </a:r>
          </a:p>
          <a:p>
            <a:pPr marL="285750" indent="-285750">
              <a:spcAft>
                <a:spcPts val="1600"/>
              </a:spcAft>
              <a:buClr>
                <a:schemeClr val="tx2"/>
              </a:buClr>
              <a:buFont typeface="Arial" panose="020B0604020202020204" pitchFamily="34" charset="0"/>
              <a:buChar char="•"/>
            </a:pPr>
            <a:r>
              <a:rPr lang="en-US" sz="1600">
                <a:solidFill>
                  <a:schemeClr val="accent6"/>
                </a:solidFill>
              </a:rPr>
              <a:t>Power is mainly influenced by sample size, effect size, and significance level. A power analysis can be used to determine the necessary sample size for a study.</a:t>
            </a:r>
          </a:p>
        </p:txBody>
      </p:sp>
    </p:spTree>
    <p:extLst>
      <p:ext uri="{BB962C8B-B14F-4D97-AF65-F5344CB8AC3E}">
        <p14:creationId xmlns:p14="http://schemas.microsoft.com/office/powerpoint/2010/main" val="14499286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2D7A37-53F4-0C9E-267D-2762CAEC7DF4}"/>
              </a:ext>
            </a:extLst>
          </p:cNvPr>
          <p:cNvSpPr>
            <a:spLocks noGrp="1"/>
          </p:cNvSpPr>
          <p:nvPr>
            <p:ph type="body" idx="1"/>
          </p:nvPr>
        </p:nvSpPr>
        <p:spPr/>
        <p:txBody>
          <a:bodyPr/>
          <a:lstStyle/>
          <a:p>
            <a:endParaRPr lang="en-US"/>
          </a:p>
        </p:txBody>
      </p:sp>
      <p:sp>
        <p:nvSpPr>
          <p:cNvPr id="3" name="Title 2">
            <a:extLst>
              <a:ext uri="{FF2B5EF4-FFF2-40B4-BE49-F238E27FC236}">
                <a16:creationId xmlns:a16="http://schemas.microsoft.com/office/drawing/2014/main" id="{2A0C482B-B274-EF75-820F-06CA297248A0}"/>
              </a:ext>
            </a:extLst>
          </p:cNvPr>
          <p:cNvSpPr>
            <a:spLocks noGrp="1"/>
          </p:cNvSpPr>
          <p:nvPr>
            <p:ph type="title"/>
          </p:nvPr>
        </p:nvSpPr>
        <p:spPr>
          <a:xfrm>
            <a:off x="1752600" y="2451107"/>
            <a:ext cx="8686800" cy="1523494"/>
          </a:xfrm>
        </p:spPr>
        <p:txBody>
          <a:bodyPr/>
          <a:lstStyle/>
          <a:p>
            <a:r>
              <a:rPr lang="en-US"/>
              <a:t>Measuring impact</a:t>
            </a:r>
            <a:br>
              <a:rPr lang="en-US"/>
            </a:br>
            <a:endParaRPr lang="en-US"/>
          </a:p>
        </p:txBody>
      </p:sp>
    </p:spTree>
    <p:extLst>
      <p:ext uri="{BB962C8B-B14F-4D97-AF65-F5344CB8AC3E}">
        <p14:creationId xmlns:p14="http://schemas.microsoft.com/office/powerpoint/2010/main" val="23136744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AA55C-29E9-4768-8EA6-8F619CBA8413}"/>
              </a:ext>
            </a:extLst>
          </p:cNvPr>
          <p:cNvSpPr>
            <a:spLocks noGrp="1"/>
          </p:cNvSpPr>
          <p:nvPr>
            <p:ph type="title"/>
          </p:nvPr>
        </p:nvSpPr>
        <p:spPr/>
        <p:txBody>
          <a:bodyPr/>
          <a:lstStyle/>
          <a:p>
            <a:r>
              <a:rPr lang="en-US"/>
              <a:t>Baselining</a:t>
            </a:r>
          </a:p>
        </p:txBody>
      </p:sp>
      <p:sp>
        <p:nvSpPr>
          <p:cNvPr id="3" name="Rectangle 2">
            <a:extLst>
              <a:ext uri="{FF2B5EF4-FFF2-40B4-BE49-F238E27FC236}">
                <a16:creationId xmlns:a16="http://schemas.microsoft.com/office/drawing/2014/main" id="{322B0D78-DC78-4C42-AF0A-BC704F3BD4B8}"/>
              </a:ext>
            </a:extLst>
          </p:cNvPr>
          <p:cNvSpPr/>
          <p:nvPr/>
        </p:nvSpPr>
        <p:spPr bwMode="gray">
          <a:xfrm>
            <a:off x="0" y="1245691"/>
            <a:ext cx="12192000" cy="1692772"/>
          </a:xfrm>
          <a:prstGeom prst="rect">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4A861749-EEEC-4713-ACA4-8728413088BE}"/>
              </a:ext>
            </a:extLst>
          </p:cNvPr>
          <p:cNvSpPr txBox="1"/>
          <p:nvPr/>
        </p:nvSpPr>
        <p:spPr bwMode="gray">
          <a:xfrm>
            <a:off x="1708727" y="1515313"/>
            <a:ext cx="9912061" cy="1077218"/>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i="0" u="none" strike="noStrike" kern="1200" cap="none" spc="0" normalizeH="0" baseline="0" noProof="0">
                <a:ln>
                  <a:noFill/>
                </a:ln>
                <a:solidFill>
                  <a:srgbClr val="002677"/>
                </a:solidFill>
                <a:effectLst/>
                <a:uLnTx/>
                <a:uFillTx/>
                <a:latin typeface="Arial" panose="020B0604020202020204"/>
                <a:ea typeface="+mn-ea"/>
                <a:cs typeface="+mn-cs"/>
              </a:rPr>
              <a:t>The purpose of a baseline study is to establish a starting point for monitoring and evaluating the impact of an intervention or project. It provides a clear understanding of the current situation, identifies gaps, and provides valuable insights that guide the development of appropriate interventions and the establishment of indicators to track progress towards achieving desired outcomes. The baseline study serves as a reference point against which progress can be measured and evaluated throughout the project cycle. </a:t>
            </a:r>
            <a:r>
              <a:rPr kumimoji="0" lang="en-US" sz="1400" u="none" strike="noStrike" kern="1200" cap="none" spc="0" normalizeH="0" baseline="0" noProof="0">
                <a:ln>
                  <a:noFill/>
                </a:ln>
                <a:solidFill>
                  <a:srgbClr val="002677"/>
                </a:solidFill>
                <a:effectLst/>
                <a:uLnTx/>
                <a:uFillTx/>
                <a:latin typeface="Arial" panose="020B0604020202020204"/>
                <a:ea typeface="+mn-ea"/>
                <a:cs typeface="+mn-cs"/>
              </a:rPr>
              <a:t>The following are some of the specific purposes of a baseline study:</a:t>
            </a:r>
          </a:p>
        </p:txBody>
      </p:sp>
      <p:sp>
        <p:nvSpPr>
          <p:cNvPr id="10" name="TextBox 9">
            <a:extLst>
              <a:ext uri="{FF2B5EF4-FFF2-40B4-BE49-F238E27FC236}">
                <a16:creationId xmlns:a16="http://schemas.microsoft.com/office/drawing/2014/main" id="{37ADC3E8-3AD7-4905-A542-8ED2B83E8977}"/>
              </a:ext>
            </a:extLst>
          </p:cNvPr>
          <p:cNvSpPr txBox="1"/>
          <p:nvPr/>
        </p:nvSpPr>
        <p:spPr bwMode="gray">
          <a:xfrm>
            <a:off x="538015" y="3321555"/>
            <a:ext cx="4107876" cy="158504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1. Establishing a Baseline: </a:t>
            </a: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The baseline study provides a starting point for monitoring and evaluating the impact of the intervention. It provides a reference point against which progress can be measured and evaluated throughout the project cycle.</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F4DE5229-7FFE-4D9D-903A-931845E7F638}"/>
              </a:ext>
            </a:extLst>
          </p:cNvPr>
          <p:cNvSpPr txBox="1"/>
          <p:nvPr/>
        </p:nvSpPr>
        <p:spPr bwMode="gray">
          <a:xfrm>
            <a:off x="538014" y="4691161"/>
            <a:ext cx="3785588" cy="115416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2. Identifying Gaps: </a:t>
            </a: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The baseline study helps to identify gaps in the current situation. It provides valuable insights that guide the development of appropriate interventions.</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F9515B1E-DD57-4ACB-B827-0987F88ADA2A}"/>
              </a:ext>
            </a:extLst>
          </p:cNvPr>
          <p:cNvSpPr txBox="1"/>
          <p:nvPr/>
        </p:nvSpPr>
        <p:spPr bwMode="gray">
          <a:xfrm>
            <a:off x="4944541" y="3321555"/>
            <a:ext cx="3626804" cy="1369606"/>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3. Establishing Indicators: </a:t>
            </a: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The baseline study helps to establish the types of indicators to track progress towards achieving desired outcomes. The indicators help to measure the effectiveness of the intervention.</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E9AF3C90-DC29-400C-90CA-0CD2718FA3E5}"/>
              </a:ext>
            </a:extLst>
          </p:cNvPr>
          <p:cNvSpPr txBox="1"/>
          <p:nvPr/>
        </p:nvSpPr>
        <p:spPr bwMode="gray">
          <a:xfrm>
            <a:off x="4944542" y="4691161"/>
            <a:ext cx="3626804" cy="1369606"/>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4. Developing Appropriate Interventions: </a:t>
            </a: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The baseline study helps to identify the needs of the target population</a:t>
            </a:r>
            <a:r>
              <a:rPr lang="en-US" sz="1400">
                <a:solidFill>
                  <a:srgbClr val="4B4D4F"/>
                </a:solidFill>
                <a:latin typeface="Arial" panose="020B0604020202020204"/>
              </a:rPr>
              <a:t> </a:t>
            </a: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and provides insights that guide the development of effective interventions.</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13E2AA57-3B84-4157-90F6-635DE62AC15A}"/>
              </a:ext>
            </a:extLst>
          </p:cNvPr>
          <p:cNvSpPr txBox="1"/>
          <p:nvPr/>
        </p:nvSpPr>
        <p:spPr bwMode="gray">
          <a:xfrm>
            <a:off x="8774545" y="3271123"/>
            <a:ext cx="2846244" cy="158504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5. Measuring Impact: </a:t>
            </a: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The baseline study provides data that is used to measure the impact of the intervention. It helps to identify the changes that occur as a result of the intervention.</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4B4D4F"/>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C847A3F9-DF4E-A166-0229-6931E3A275B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832714" y="1628783"/>
            <a:ext cx="609601" cy="609601"/>
          </a:xfrm>
          <a:prstGeom prst="rect">
            <a:avLst/>
          </a:prstGeom>
        </p:spPr>
      </p:pic>
    </p:spTree>
    <p:extLst>
      <p:ext uri="{BB962C8B-B14F-4D97-AF65-F5344CB8AC3E}">
        <p14:creationId xmlns:p14="http://schemas.microsoft.com/office/powerpoint/2010/main" val="6887678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EB311-D221-4916-A540-0CD33231180C}"/>
              </a:ext>
            </a:extLst>
          </p:cNvPr>
          <p:cNvSpPr>
            <a:spLocks noGrp="1"/>
          </p:cNvSpPr>
          <p:nvPr>
            <p:ph type="title"/>
          </p:nvPr>
        </p:nvSpPr>
        <p:spPr/>
        <p:txBody>
          <a:bodyPr/>
          <a:lstStyle/>
          <a:p>
            <a:r>
              <a:rPr lang="en-US"/>
              <a:t>Tracking and follow up</a:t>
            </a:r>
          </a:p>
        </p:txBody>
      </p:sp>
      <p:sp>
        <p:nvSpPr>
          <p:cNvPr id="9" name="Rectangle 8">
            <a:extLst>
              <a:ext uri="{FF2B5EF4-FFF2-40B4-BE49-F238E27FC236}">
                <a16:creationId xmlns:a16="http://schemas.microsoft.com/office/drawing/2014/main" id="{A10E0D48-BE8C-45D6-9CA6-A53F59075525}"/>
              </a:ext>
            </a:extLst>
          </p:cNvPr>
          <p:cNvSpPr/>
          <p:nvPr/>
        </p:nvSpPr>
        <p:spPr bwMode="gray">
          <a:xfrm>
            <a:off x="457200" y="1529374"/>
            <a:ext cx="4439285" cy="4179275"/>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US" sz="1400" b="0" u="none" strike="noStrike" kern="1200" cap="none" spc="0" normalizeH="0" baseline="0" noProof="0">
              <a:ln>
                <a:noFill/>
              </a:ln>
              <a:solidFill>
                <a:schemeClr val="accent6"/>
              </a:solidFill>
              <a:effectLst/>
              <a:uLnTx/>
              <a:uFillTx/>
              <a:latin typeface="Arial" panose="020B0604020202020204"/>
              <a:ea typeface="+mn-ea"/>
              <a:cs typeface="+mn-cs"/>
            </a:endParaRPr>
          </a:p>
          <a:p>
            <a:pPr marL="285750" marR="0" lvl="0" indent="-285750"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lang="en-US" sz="1400">
              <a:solidFill>
                <a:schemeClr val="accent6"/>
              </a:solidFill>
              <a:latin typeface="Arial" panose="020B0604020202020204"/>
            </a:endParaRPr>
          </a:p>
          <a:p>
            <a:pPr marL="285750" marR="0" lvl="0" indent="-285750"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u="none" strike="noStrike" kern="1200" cap="none" spc="0" normalizeH="0" baseline="0" noProof="0">
                <a:ln>
                  <a:noFill/>
                </a:ln>
                <a:solidFill>
                  <a:schemeClr val="accent6"/>
                </a:solidFill>
                <a:effectLst/>
                <a:uLnTx/>
                <a:uFillTx/>
                <a:latin typeface="Arial" panose="020B0604020202020204"/>
                <a:ea typeface="+mn-ea"/>
                <a:cs typeface="+mn-cs"/>
              </a:rPr>
              <a:t>If data refreshes regularly, it is wise to track changes every month to get an idea of trajectories.</a:t>
            </a:r>
          </a:p>
          <a:p>
            <a:pPr marL="285750" marR="0" lvl="0" indent="-285750"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u="none" strike="noStrike" kern="1200" cap="none" spc="0" normalizeH="0" baseline="0" noProof="0">
                <a:ln>
                  <a:noFill/>
                </a:ln>
                <a:solidFill>
                  <a:schemeClr val="accent6"/>
                </a:solidFill>
                <a:effectLst/>
                <a:uLnTx/>
                <a:uFillTx/>
                <a:latin typeface="Arial" panose="020B0604020202020204"/>
                <a:ea typeface="+mn-ea"/>
                <a:cs typeface="+mn-cs"/>
              </a:rPr>
              <a:t>However, it is worth being aware that it usually takes months or often years for real trends and results to become clear. It is important to make sure your stakeholders are aware of this from the outset (many commissioners aim for “in year savings” – this is normally not realistic).</a:t>
            </a:r>
          </a:p>
          <a:p>
            <a:pPr marL="285750" marR="0" lvl="0" indent="-285750"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u="none" strike="noStrike" kern="1200" cap="none" spc="0" normalizeH="0" baseline="0" noProof="0">
                <a:ln>
                  <a:noFill/>
                </a:ln>
                <a:solidFill>
                  <a:schemeClr val="accent6"/>
                </a:solidFill>
                <a:effectLst/>
                <a:uLnTx/>
                <a:uFillTx/>
                <a:latin typeface="Arial" panose="020B0604020202020204"/>
                <a:ea typeface="+mn-ea"/>
                <a:cs typeface="+mn-cs"/>
              </a:rPr>
              <a:t>It is wise to normally wait at least 12 months before attempting to write a full evaluation document, for example to </a:t>
            </a:r>
            <a:r>
              <a:rPr lang="en-US" sz="1400">
                <a:solidFill>
                  <a:schemeClr val="accent6"/>
                </a:solidFill>
                <a:latin typeface="Arial" panose="020B0604020202020204"/>
              </a:rPr>
              <a:t>control for seasonality.</a:t>
            </a:r>
            <a:endParaRPr kumimoji="0" lang="en-US" sz="1400" b="0" u="none" strike="noStrike" kern="1200" cap="none" spc="0" normalizeH="0" baseline="0" noProof="0">
              <a:ln>
                <a:noFill/>
              </a:ln>
              <a:solidFill>
                <a:schemeClr val="accent6"/>
              </a:solidFill>
              <a:effectLst/>
              <a:uLnTx/>
              <a:uFillTx/>
              <a:latin typeface="Arial" panose="020B0604020202020204"/>
              <a:ea typeface="+mn-ea"/>
              <a:cs typeface="+mn-cs"/>
            </a:endParaRPr>
          </a:p>
        </p:txBody>
      </p:sp>
      <p:pic>
        <p:nvPicPr>
          <p:cNvPr id="3" name="Picture 2">
            <a:extLst>
              <a:ext uri="{FF2B5EF4-FFF2-40B4-BE49-F238E27FC236}">
                <a16:creationId xmlns:a16="http://schemas.microsoft.com/office/drawing/2014/main" id="{BF75FF18-3BF9-676F-90D6-4BA0992B9312}"/>
              </a:ext>
            </a:extLst>
          </p:cNvPr>
          <p:cNvPicPr>
            <a:picLocks noChangeAspect="1"/>
          </p:cNvPicPr>
          <p:nvPr/>
        </p:nvPicPr>
        <p:blipFill>
          <a:blip r:embed="rId2"/>
          <a:stretch>
            <a:fillRect/>
          </a:stretch>
        </p:blipFill>
        <p:spPr>
          <a:xfrm>
            <a:off x="5257798" y="555639"/>
            <a:ext cx="6267451" cy="5523856"/>
          </a:xfrm>
          <a:prstGeom prst="rect">
            <a:avLst/>
          </a:prstGeom>
        </p:spPr>
      </p:pic>
      <p:grpSp>
        <p:nvGrpSpPr>
          <p:cNvPr id="4" name="Group 3">
            <a:extLst>
              <a:ext uri="{FF2B5EF4-FFF2-40B4-BE49-F238E27FC236}">
                <a16:creationId xmlns:a16="http://schemas.microsoft.com/office/drawing/2014/main" id="{756B3CEF-293C-6889-7544-290B722326E1}"/>
              </a:ext>
            </a:extLst>
          </p:cNvPr>
          <p:cNvGrpSpPr/>
          <p:nvPr/>
        </p:nvGrpSpPr>
        <p:grpSpPr bwMode="gray">
          <a:xfrm>
            <a:off x="1068653" y="2055778"/>
            <a:ext cx="3216378" cy="0"/>
            <a:chOff x="7781731" y="1761671"/>
            <a:chExt cx="3216378" cy="0"/>
          </a:xfrm>
        </p:grpSpPr>
        <p:cxnSp>
          <p:nvCxnSpPr>
            <p:cNvPr id="8" name="Straight Connector 7">
              <a:extLst>
                <a:ext uri="{FF2B5EF4-FFF2-40B4-BE49-F238E27FC236}">
                  <a16:creationId xmlns:a16="http://schemas.microsoft.com/office/drawing/2014/main" id="{A26036CB-2493-C33C-1603-E65E2608E295}"/>
                </a:ext>
              </a:extLst>
            </p:cNvPr>
            <p:cNvCxnSpPr>
              <a:cxnSpLocks/>
            </p:cNvCxnSpPr>
            <p:nvPr/>
          </p:nvCxnSpPr>
          <p:spPr bwMode="gray">
            <a:xfrm>
              <a:off x="7781731" y="1761671"/>
              <a:ext cx="1169864"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BFE7F4C-A0FA-FC48-8E58-0E055AEF099C}"/>
                </a:ext>
              </a:extLst>
            </p:cNvPr>
            <p:cNvCxnSpPr>
              <a:cxnSpLocks/>
            </p:cNvCxnSpPr>
            <p:nvPr/>
          </p:nvCxnSpPr>
          <p:spPr bwMode="gray">
            <a:xfrm>
              <a:off x="9828245" y="1761671"/>
              <a:ext cx="1169864"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12" name="Picture 11">
            <a:extLst>
              <a:ext uri="{FF2B5EF4-FFF2-40B4-BE49-F238E27FC236}">
                <a16:creationId xmlns:a16="http://schemas.microsoft.com/office/drawing/2014/main" id="{43DB41FF-27D5-97CC-79D9-3775679756F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2372041" y="1750977"/>
            <a:ext cx="609601" cy="609601"/>
          </a:xfrm>
          <a:prstGeom prst="rect">
            <a:avLst/>
          </a:prstGeom>
        </p:spPr>
      </p:pic>
    </p:spTree>
    <p:extLst>
      <p:ext uri="{BB962C8B-B14F-4D97-AF65-F5344CB8AC3E}">
        <p14:creationId xmlns:p14="http://schemas.microsoft.com/office/powerpoint/2010/main" val="42638104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BD856-89DC-2958-E43C-990DC76201CE}"/>
              </a:ext>
            </a:extLst>
          </p:cNvPr>
          <p:cNvSpPr>
            <a:spLocks noGrp="1"/>
          </p:cNvSpPr>
          <p:nvPr>
            <p:ph type="title" hasCustomPrompt="1"/>
          </p:nvPr>
        </p:nvSpPr>
        <p:spPr bwMode="gray">
          <a:xfrm>
            <a:off x="457198" y="826727"/>
            <a:ext cx="11457298" cy="306037"/>
          </a:xfrm>
        </p:spPr>
        <p:txBody>
          <a:bodyPr/>
          <a:lstStyle>
            <a:lvl1pPr>
              <a:defRPr/>
            </a:lvl1pPr>
          </a:lstStyle>
          <a:p>
            <a:r>
              <a:rPr lang="en-US"/>
              <a:t>Before and after differences</a:t>
            </a:r>
          </a:p>
        </p:txBody>
      </p:sp>
      <p:sp>
        <p:nvSpPr>
          <p:cNvPr id="3" name="TextBox 2">
            <a:extLst>
              <a:ext uri="{FF2B5EF4-FFF2-40B4-BE49-F238E27FC236}">
                <a16:creationId xmlns:a16="http://schemas.microsoft.com/office/drawing/2014/main" id="{3A9DB51C-64E5-B8C3-FE39-1B6E6EBEC15C}"/>
              </a:ext>
            </a:extLst>
          </p:cNvPr>
          <p:cNvSpPr txBox="1"/>
          <p:nvPr/>
        </p:nvSpPr>
        <p:spPr bwMode="gray">
          <a:xfrm>
            <a:off x="457198" y="1530177"/>
            <a:ext cx="5463542" cy="270843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As described in the pre-experimental and retrospective design slides, there is a need to examine changes in measures over at least two points in time – usually before and after intervention. This can be done simply by comparing the average in a measure for the intervention group. </a:t>
            </a:r>
          </a:p>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GB" sz="1100" b="1" i="1" u="none" strike="noStrike" kern="1200" cap="none" spc="0" normalizeH="0" baseline="0" noProof="0">
                <a:ln>
                  <a:noFill/>
                </a:ln>
                <a:solidFill>
                  <a:srgbClr val="4B4D4F"/>
                </a:solidFill>
                <a:effectLst/>
                <a:uLnTx/>
                <a:uFillTx/>
                <a:latin typeface="Arial" panose="020B0604020202020204"/>
                <a:ea typeface="+mn-ea"/>
                <a:cs typeface="+mn-cs"/>
              </a:rPr>
              <a:t>Example </a:t>
            </a: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 the average wellbeing score on a 1 to 5 scale in the intervention group was 3.2 before intervention and 4.1 after intervention. So, we can say that the wellbeing score increased by 0.9 points on the scale.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However</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is form of straightforward comparison does not tell you whether the difference is down to anything other than chance.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at can be tested using a paired t-test. The paired t-test is one of the more rigorous methods for comparing the difference in measures pre and post intervention.</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DEF1E496-4DBF-CD6B-1885-EFF70210C82B}"/>
              </a:ext>
            </a:extLst>
          </p:cNvPr>
          <p:cNvSpPr/>
          <p:nvPr/>
        </p:nvSpPr>
        <p:spPr bwMode="gray">
          <a:xfrm>
            <a:off x="7338060" y="1530177"/>
            <a:ext cx="4853940" cy="3693319"/>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0F1A425A-0DF0-9714-F071-522072DDF3BA}"/>
              </a:ext>
            </a:extLst>
          </p:cNvPr>
          <p:cNvSpPr txBox="1"/>
          <p:nvPr/>
        </p:nvSpPr>
        <p:spPr bwMode="gray">
          <a:xfrm>
            <a:off x="7520940" y="1795178"/>
            <a:ext cx="3806190" cy="674031"/>
          </a:xfrm>
          <a:prstGeom prst="rect">
            <a:avLst/>
          </a:prstGeom>
          <a:noFill/>
        </p:spPr>
        <p:txBody>
          <a:bodyPr wrap="square">
            <a:sp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A</a:t>
            </a: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 paired t-test assesses whether the difference is statistically different (i.e., not just due to chance)</a:t>
            </a:r>
          </a:p>
        </p:txBody>
      </p:sp>
      <p:sp>
        <p:nvSpPr>
          <p:cNvPr id="14" name="TextBox 13">
            <a:extLst>
              <a:ext uri="{FF2B5EF4-FFF2-40B4-BE49-F238E27FC236}">
                <a16:creationId xmlns:a16="http://schemas.microsoft.com/office/drawing/2014/main" id="{EFA9740F-6150-2654-C05D-6EE8264C4C68}"/>
              </a:ext>
            </a:extLst>
          </p:cNvPr>
          <p:cNvSpPr txBox="1"/>
          <p:nvPr/>
        </p:nvSpPr>
        <p:spPr bwMode="gray">
          <a:xfrm>
            <a:off x="7520940" y="2621244"/>
            <a:ext cx="4213862" cy="480131"/>
          </a:xfrm>
          <a:prstGeom prst="rect">
            <a:avLst/>
          </a:prstGeom>
          <a:noFill/>
        </p:spPr>
        <p:txBody>
          <a:bodyPr wrap="square">
            <a:sp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It can be used to compare the average (mean) difference between pairs of measurements</a:t>
            </a:r>
            <a:endParaRPr kumimoji="0" lang="en-US" sz="1400" b="1"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154030F9-FD3B-87F5-50BA-0E855D105668}"/>
              </a:ext>
            </a:extLst>
          </p:cNvPr>
          <p:cNvSpPr txBox="1"/>
          <p:nvPr/>
        </p:nvSpPr>
        <p:spPr bwMode="gray">
          <a:xfrm>
            <a:off x="4648346" y="5759410"/>
            <a:ext cx="6903187"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B4D4F"/>
                </a:solidFill>
                <a:effectLst/>
                <a:uLnTx/>
                <a:uFillTx/>
                <a:latin typeface="Arial" panose="020B0604020202020204"/>
                <a:ea typeface="+mn-ea"/>
                <a:cs typeface="+mn-cs"/>
                <a:hlinkClick r:id="rId2"/>
              </a:rPr>
              <a:t>Paired Samples T-test in R - Easy Guides - Wiki – STHDA</a:t>
            </a:r>
            <a:endParaRPr kumimoji="0" lang="en-US" sz="8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B4D4F"/>
                </a:solidFill>
                <a:effectLst/>
                <a:uLnTx/>
                <a:uFillTx/>
                <a:latin typeface="Arial" panose="020B0604020202020204"/>
                <a:ea typeface="+mn-ea"/>
                <a:cs typeface="+mn-cs"/>
                <a:hlinkClick r:id="rId3"/>
              </a:rPr>
              <a:t>11: Introduction to Repeated Measures - Statistics </a:t>
            </a:r>
            <a:r>
              <a:rPr kumimoji="0" lang="en-US" sz="800" b="0" i="0" u="none" strike="noStrike" kern="1200" cap="none" spc="0" normalizeH="0" baseline="0" noProof="0" err="1">
                <a:ln>
                  <a:noFill/>
                </a:ln>
                <a:solidFill>
                  <a:srgbClr val="4B4D4F"/>
                </a:solidFill>
                <a:effectLst/>
                <a:uLnTx/>
                <a:uFillTx/>
                <a:latin typeface="Arial" panose="020B0604020202020204"/>
                <a:ea typeface="+mn-ea"/>
                <a:cs typeface="+mn-cs"/>
                <a:hlinkClick r:id="rId3"/>
              </a:rPr>
              <a:t>LibreTexts</a:t>
            </a:r>
            <a:endParaRPr kumimoji="0" lang="en-US" sz="8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5" name="Rectangle 4">
            <a:hlinkClick r:id="" action="ppaction://noaction"/>
            <a:extLst>
              <a:ext uri="{FF2B5EF4-FFF2-40B4-BE49-F238E27FC236}">
                <a16:creationId xmlns:a16="http://schemas.microsoft.com/office/drawing/2014/main" id="{CAC5C4FC-7179-08C3-F561-524BB24693E4}"/>
              </a:ext>
            </a:extLst>
          </p:cNvPr>
          <p:cNvSpPr/>
          <p:nvPr/>
        </p:nvSpPr>
        <p:spPr bwMode="gray">
          <a:xfrm>
            <a:off x="10462990"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hlinkClick r:id="" action="ppaction://noaction"/>
            <a:extLst>
              <a:ext uri="{FF2B5EF4-FFF2-40B4-BE49-F238E27FC236}">
                <a16:creationId xmlns:a16="http://schemas.microsoft.com/office/drawing/2014/main" id="{EEAF596F-0CF0-99D4-A3E5-57E846A8EDF1}"/>
              </a:ext>
            </a:extLst>
          </p:cNvPr>
          <p:cNvSpPr/>
          <p:nvPr/>
        </p:nvSpPr>
        <p:spPr bwMode="gray">
          <a:xfrm>
            <a:off x="11327130"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369903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56875-07C2-5EB6-19EB-710171E1A4C9}"/>
              </a:ext>
            </a:extLst>
          </p:cNvPr>
          <p:cNvSpPr>
            <a:spLocks noGrp="1"/>
          </p:cNvSpPr>
          <p:nvPr>
            <p:ph type="title" hasCustomPrompt="1"/>
          </p:nvPr>
        </p:nvSpPr>
        <p:spPr bwMode="gray">
          <a:xfrm>
            <a:off x="457198" y="826727"/>
            <a:ext cx="11457298" cy="306037"/>
          </a:xfrm>
        </p:spPr>
        <p:txBody>
          <a:bodyPr/>
          <a:lstStyle>
            <a:lvl1pPr>
              <a:defRPr/>
            </a:lvl1pPr>
          </a:lstStyle>
          <a:p>
            <a:r>
              <a:rPr lang="en-US"/>
              <a:t>How to undertake a paired t-test in Excel </a:t>
            </a:r>
          </a:p>
        </p:txBody>
      </p:sp>
      <p:sp>
        <p:nvSpPr>
          <p:cNvPr id="3" name="TextBox 2">
            <a:extLst>
              <a:ext uri="{FF2B5EF4-FFF2-40B4-BE49-F238E27FC236}">
                <a16:creationId xmlns:a16="http://schemas.microsoft.com/office/drawing/2014/main" id="{C3A20F40-0142-44E9-CD79-D8E779A8E267}"/>
              </a:ext>
            </a:extLst>
          </p:cNvPr>
          <p:cNvSpPr txBox="1"/>
          <p:nvPr/>
        </p:nvSpPr>
        <p:spPr bwMode="gray">
          <a:xfrm>
            <a:off x="457198" y="1242735"/>
            <a:ext cx="8126732" cy="4893647"/>
          </a:xfrm>
          <a:prstGeom prst="rect">
            <a:avLst/>
          </a:prstGeom>
          <a:noFill/>
        </p:spPr>
        <p:txBody>
          <a:bodyPr vert="horz" wrap="square" lIns="0" tIns="0" rIns="0" bIns="0" rtlCol="0">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If you don’t have access to the Data Analysis under the Data tab in Excel, you will need to download the Analysis </a:t>
            </a:r>
            <a:r>
              <a:rPr kumimoji="0" lang="en-GB" sz="1100" b="0" i="0" u="none" strike="noStrike" kern="1200" cap="none" spc="0" normalizeH="0" baseline="0" noProof="0" err="1">
                <a:ln>
                  <a:noFill/>
                </a:ln>
                <a:solidFill>
                  <a:srgbClr val="4B4D4F"/>
                </a:solidFill>
                <a:effectLst/>
                <a:uLnTx/>
                <a:uFillTx/>
                <a:latin typeface="Arial" panose="020B0604020202020204"/>
                <a:ea typeface="+mn-ea"/>
                <a:cs typeface="+mn-cs"/>
              </a:rPr>
              <a:t>Toolpak</a:t>
            </a: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 which is free - </a:t>
            </a: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hlinkClick r:id="rId2"/>
              </a:rPr>
              <a:t>https://www.statology.org/how-to-load-the-analysis-toolpak-in-excel/</a:t>
            </a: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Select Data Analysis and then</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 the t-Test: Paired Two Sample for Means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Input your first set of measures under Variable 1 Range and second set under Variable 2 Rang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Hypothesised mean difference is your null hypothesis which would typically be that there is no difference between the means and you are looking to disprove this – therefore the value would be ‘0’</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en choose where you would like to output the results under Output Range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In this example, we have 100 intervention participants with a wellbeing score between 1 and 5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e outputs will look like thi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You can see the mean score in each sample (2.94 before intervention and 2.99 after intervention), the variance (a measure of spread) and number of observation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1" i="0" u="none" strike="noStrike" kern="1200" cap="none" spc="0" normalizeH="0" baseline="0" noProof="0">
                <a:ln>
                  <a:noFill/>
                </a:ln>
                <a:solidFill>
                  <a:srgbClr val="4B4D4F"/>
                </a:solidFill>
                <a:effectLst/>
                <a:uLnTx/>
                <a:uFillTx/>
                <a:latin typeface="Arial" panose="020B0604020202020204"/>
                <a:ea typeface="+mn-ea"/>
                <a:cs typeface="+mn-cs"/>
              </a:rPr>
              <a:t>The important statistics here are the P two-tail and t Critical two-tail. The P two-tail shows whether the difference in means is significant – a value of less than 0.05 indicates that it is. In this example, the difference is not significant and therefore we can say that the change in the wellbeing score is as likely to be down to chance as it is the direct result of the intervention and therefore the positive change cannot be attributed to the intervention itself</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e Pearson Correlation is a measure between -1 and +1 that indicates the strength and direction of the correlation between the means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ere is more information here about how to undertake this test in Excel — </a:t>
            </a:r>
            <a:b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b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3"/>
              </a:rPr>
              <a:t>How to Conduct a Paired Samples t-Test in Excel - </a:t>
            </a:r>
            <a:r>
              <a:rPr kumimoji="0" lang="en-US" sz="1100" b="0" i="0" u="none" strike="noStrike" kern="1200" cap="none" spc="0" normalizeH="0" baseline="0" noProof="0" err="1">
                <a:ln>
                  <a:noFill/>
                </a:ln>
                <a:solidFill>
                  <a:srgbClr val="4B4D4F"/>
                </a:solidFill>
                <a:effectLst/>
                <a:uLnTx/>
                <a:uFillTx/>
                <a:latin typeface="Arial" panose="020B0604020202020204"/>
                <a:ea typeface="+mn-ea"/>
                <a:cs typeface="+mn-cs"/>
                <a:hlinkClick r:id="rId3"/>
              </a:rPr>
              <a:t>Statology</a:t>
            </a:r>
            <a:endParaRPr kumimoji="0" lang="en-GB" sz="1100" b="1" i="0" u="none" strike="noStrike" kern="1200" cap="none" spc="0" normalizeH="0" baseline="0" noProof="0">
              <a:ln>
                <a:noFill/>
              </a:ln>
              <a:solidFill>
                <a:srgbClr val="4B4D4F"/>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ere are other approaches for comparing differences between three or more observations as mentioned in the pre-experimental design slide. One such example is the ANOVA one-way repeated measure. There is more information on how to conduct such an analysis here -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4"/>
              </a:rPr>
              <a:t>11: Introduction to Repeated Measures - Statistics </a:t>
            </a:r>
            <a:r>
              <a:rPr kumimoji="0" lang="en-US" sz="1100" b="0" i="0" u="none" strike="noStrike" kern="1200" cap="none" spc="0" normalizeH="0" baseline="0" noProof="0" err="1">
                <a:ln>
                  <a:noFill/>
                </a:ln>
                <a:solidFill>
                  <a:srgbClr val="4B4D4F"/>
                </a:solidFill>
                <a:effectLst/>
                <a:uLnTx/>
                <a:uFillTx/>
                <a:latin typeface="Arial" panose="020B0604020202020204"/>
                <a:ea typeface="+mn-ea"/>
                <a:cs typeface="+mn-cs"/>
                <a:hlinkClick r:id="rId4"/>
              </a:rPr>
              <a:t>LibreTexts</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D0C1C9FD-1156-5CE6-89FF-34B54D16D444}"/>
              </a:ext>
            </a:extLst>
          </p:cNvPr>
          <p:cNvPicPr>
            <a:picLocks noChangeAspect="1"/>
          </p:cNvPicPr>
          <p:nvPr/>
        </p:nvPicPr>
        <p:blipFill>
          <a:blip r:embed="rId5"/>
          <a:stretch>
            <a:fillRect/>
          </a:stretch>
        </p:blipFill>
        <p:spPr>
          <a:xfrm>
            <a:off x="8818326" y="1132764"/>
            <a:ext cx="2916476" cy="1953554"/>
          </a:xfrm>
          <a:prstGeom prst="rect">
            <a:avLst/>
          </a:prstGeom>
        </p:spPr>
      </p:pic>
      <p:pic>
        <p:nvPicPr>
          <p:cNvPr id="5" name="Picture 4">
            <a:extLst>
              <a:ext uri="{FF2B5EF4-FFF2-40B4-BE49-F238E27FC236}">
                <a16:creationId xmlns:a16="http://schemas.microsoft.com/office/drawing/2014/main" id="{A63323C7-F683-55ED-434D-123B8586BB2D}"/>
              </a:ext>
            </a:extLst>
          </p:cNvPr>
          <p:cNvPicPr>
            <a:picLocks noChangeAspect="1"/>
          </p:cNvPicPr>
          <p:nvPr/>
        </p:nvPicPr>
        <p:blipFill>
          <a:blip r:embed="rId6"/>
          <a:stretch>
            <a:fillRect/>
          </a:stretch>
        </p:blipFill>
        <p:spPr>
          <a:xfrm>
            <a:off x="8829206" y="3284315"/>
            <a:ext cx="2905595" cy="2634016"/>
          </a:xfrm>
          <a:prstGeom prst="rect">
            <a:avLst/>
          </a:prstGeom>
        </p:spPr>
      </p:pic>
      <p:cxnSp>
        <p:nvCxnSpPr>
          <p:cNvPr id="6" name="Straight Arrow Connector 5">
            <a:extLst>
              <a:ext uri="{FF2B5EF4-FFF2-40B4-BE49-F238E27FC236}">
                <a16:creationId xmlns:a16="http://schemas.microsoft.com/office/drawing/2014/main" id="{6F3C89C2-3CFD-D42D-35A7-AAB4C763986D}"/>
              </a:ext>
            </a:extLst>
          </p:cNvPr>
          <p:cNvCxnSpPr>
            <a:cxnSpLocks/>
          </p:cNvCxnSpPr>
          <p:nvPr/>
        </p:nvCxnSpPr>
        <p:spPr bwMode="gray">
          <a:xfrm>
            <a:off x="2607679" y="3380478"/>
            <a:ext cx="6221527" cy="0"/>
          </a:xfrm>
          <a:prstGeom prst="straightConnector1">
            <a:avLst/>
          </a:prstGeom>
          <a:ln w="28575" cap="rnd">
            <a:solidFill>
              <a:schemeClr val="tx2"/>
            </a:solidFill>
            <a:prstDash val="sysDot"/>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 name="Rectangle 6">
            <a:hlinkClick r:id="rId7" action="ppaction://hlinksldjump"/>
            <a:extLst>
              <a:ext uri="{FF2B5EF4-FFF2-40B4-BE49-F238E27FC236}">
                <a16:creationId xmlns:a16="http://schemas.microsoft.com/office/drawing/2014/main" id="{4E3B3D2A-6275-C231-3152-9260D1D7AA39}"/>
              </a:ext>
            </a:extLst>
          </p:cNvPr>
          <p:cNvSpPr/>
          <p:nvPr/>
        </p:nvSpPr>
        <p:spPr bwMode="gray">
          <a:xfrm>
            <a:off x="10462990"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hlinkClick r:id="" action="ppaction://noaction"/>
            <a:extLst>
              <a:ext uri="{FF2B5EF4-FFF2-40B4-BE49-F238E27FC236}">
                <a16:creationId xmlns:a16="http://schemas.microsoft.com/office/drawing/2014/main" id="{9D13B5D1-ECF9-BA14-C5F4-ECE62822BB9C}"/>
              </a:ext>
            </a:extLst>
          </p:cNvPr>
          <p:cNvSpPr/>
          <p:nvPr/>
        </p:nvSpPr>
        <p:spPr bwMode="gray">
          <a:xfrm>
            <a:off x="11290093"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89588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018D4-1980-FABD-06EA-F906DB696CAF}"/>
              </a:ext>
            </a:extLst>
          </p:cNvPr>
          <p:cNvSpPr>
            <a:spLocks noGrp="1"/>
          </p:cNvSpPr>
          <p:nvPr>
            <p:ph type="title"/>
          </p:nvPr>
        </p:nvSpPr>
        <p:spPr/>
        <p:txBody>
          <a:bodyPr/>
          <a:lstStyle/>
          <a:p>
            <a:r>
              <a:rPr lang="en-GB"/>
              <a:t>Summarising your quantitative evaluation</a:t>
            </a:r>
            <a:endParaRPr lang="en-US"/>
          </a:p>
        </p:txBody>
      </p:sp>
      <p:sp>
        <p:nvSpPr>
          <p:cNvPr id="3" name="Text Placeholder 2">
            <a:extLst>
              <a:ext uri="{FF2B5EF4-FFF2-40B4-BE49-F238E27FC236}">
                <a16:creationId xmlns:a16="http://schemas.microsoft.com/office/drawing/2014/main" id="{F29F6057-CBFA-5A78-DBE3-0166C7C3A5FF}"/>
              </a:ext>
            </a:extLst>
          </p:cNvPr>
          <p:cNvSpPr>
            <a:spLocks noGrp="1"/>
          </p:cNvSpPr>
          <p:nvPr>
            <p:ph type="body" sz="quarter" idx="11"/>
          </p:nvPr>
        </p:nvSpPr>
        <p:spPr>
          <a:xfrm>
            <a:off x="1077158" y="1209964"/>
            <a:ext cx="9753600" cy="4765963"/>
          </a:xfrm>
          <a:solidFill>
            <a:srgbClr val="FBF9F4"/>
          </a:solidFill>
        </p:spPr>
        <p:txBody>
          <a:bodyPr>
            <a:noAutofit/>
          </a:bodyPr>
          <a:lstStyle/>
          <a:p>
            <a:pPr>
              <a:spcAft>
                <a:spcPts val="1600"/>
              </a:spcAft>
            </a:pPr>
            <a:r>
              <a:rPr lang="en-US" sz="1600" b="1">
                <a:solidFill>
                  <a:schemeClr val="accent6"/>
                </a:solidFill>
              </a:rPr>
              <a:t>Checklist:</a:t>
            </a:r>
          </a:p>
          <a:p>
            <a:pPr marL="285750" indent="-285750">
              <a:spcAft>
                <a:spcPts val="1600"/>
              </a:spcAft>
              <a:buClr>
                <a:schemeClr val="tx2"/>
              </a:buClr>
              <a:buFont typeface="Wingdings" panose="05000000000000000000" pitchFamily="2" charset="2"/>
              <a:buChar char="ü"/>
            </a:pPr>
            <a:r>
              <a:rPr lang="en-US" sz="1600">
                <a:solidFill>
                  <a:schemeClr val="accent6"/>
                </a:solidFill>
              </a:rPr>
              <a:t>Pick out the key points. If you can do a 3 or 4 bullet point summary to start with, the reader will quickly understand the key results. Add more depth afterwards.</a:t>
            </a:r>
          </a:p>
          <a:p>
            <a:pPr marL="285750" indent="-285750">
              <a:spcAft>
                <a:spcPts val="1600"/>
              </a:spcAft>
              <a:buClr>
                <a:schemeClr val="tx2"/>
              </a:buClr>
              <a:buFont typeface="Wingdings" panose="05000000000000000000" pitchFamily="2" charset="2"/>
              <a:buChar char="ü"/>
            </a:pPr>
            <a:r>
              <a:rPr lang="en-US" sz="1600">
                <a:solidFill>
                  <a:schemeClr val="accent6"/>
                </a:solidFill>
              </a:rPr>
              <a:t>Go back to your research question / hypothesis / outcomes. Did your intervention achieve them? Was it clear? Was it statistically significant?</a:t>
            </a:r>
          </a:p>
          <a:p>
            <a:pPr marL="285750" indent="-285750">
              <a:spcAft>
                <a:spcPts val="1600"/>
              </a:spcAft>
              <a:buClr>
                <a:schemeClr val="tx2"/>
              </a:buClr>
              <a:buFont typeface="Wingdings" panose="05000000000000000000" pitchFamily="2" charset="2"/>
              <a:buChar char="ü"/>
            </a:pPr>
            <a:r>
              <a:rPr lang="en-US" sz="1600">
                <a:solidFill>
                  <a:schemeClr val="accent6"/>
                </a:solidFill>
              </a:rPr>
              <a:t>Were there any issues in the analysis that made the results difficult to interpret? Discuss why, and what this might mean?</a:t>
            </a:r>
          </a:p>
          <a:p>
            <a:pPr marL="285750" indent="-285750">
              <a:spcAft>
                <a:spcPts val="1600"/>
              </a:spcAft>
              <a:buClr>
                <a:schemeClr val="tx2"/>
              </a:buClr>
              <a:buFont typeface="Wingdings" panose="05000000000000000000" pitchFamily="2" charset="2"/>
              <a:buChar char="ü"/>
            </a:pPr>
            <a:r>
              <a:rPr lang="en-US" sz="1600">
                <a:solidFill>
                  <a:schemeClr val="accent6"/>
                </a:solidFill>
              </a:rPr>
              <a:t>Crucially, does your evaluation suggest your intervention was a success? Would you recommend continuing it? Expanding it? Modifying it? Stopping it? This is what commissioners and key decision makers will want to know.</a:t>
            </a:r>
          </a:p>
          <a:p>
            <a:pPr marL="285750" indent="-285750">
              <a:spcAft>
                <a:spcPts val="1600"/>
              </a:spcAft>
              <a:buClr>
                <a:schemeClr val="tx2"/>
              </a:buClr>
              <a:buFont typeface="Wingdings" panose="05000000000000000000" pitchFamily="2" charset="2"/>
              <a:buChar char="ü"/>
            </a:pPr>
            <a:r>
              <a:rPr lang="en-US" sz="1600">
                <a:solidFill>
                  <a:schemeClr val="accent6"/>
                </a:solidFill>
              </a:rPr>
              <a:t>Add any recommendations for further evaluation and analysis, such as follow up studies further down the line, or additional metrics to test.</a:t>
            </a:r>
          </a:p>
        </p:txBody>
      </p:sp>
    </p:spTree>
    <p:extLst>
      <p:ext uri="{BB962C8B-B14F-4D97-AF65-F5344CB8AC3E}">
        <p14:creationId xmlns:p14="http://schemas.microsoft.com/office/powerpoint/2010/main" val="19563362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AA4FC6-5556-3CA0-FA1F-559A21558173}"/>
              </a:ext>
            </a:extLst>
          </p:cNvPr>
          <p:cNvSpPr/>
          <p:nvPr/>
        </p:nvSpPr>
        <p:spPr bwMode="gray">
          <a:xfrm>
            <a:off x="457198" y="3072155"/>
            <a:ext cx="10984232" cy="905975"/>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70479161-7095-358A-CB0F-2522A92B0640}"/>
              </a:ext>
            </a:extLst>
          </p:cNvPr>
          <p:cNvSpPr>
            <a:spLocks noGrp="1"/>
          </p:cNvSpPr>
          <p:nvPr>
            <p:ph type="title" hasCustomPrompt="1"/>
          </p:nvPr>
        </p:nvSpPr>
        <p:spPr bwMode="gray">
          <a:xfrm>
            <a:off x="457198" y="826727"/>
            <a:ext cx="9886952" cy="609398"/>
          </a:xfrm>
        </p:spPr>
        <p:txBody>
          <a:bodyPr/>
          <a:lstStyle>
            <a:lvl1pPr>
              <a:defRPr/>
            </a:lvl1pPr>
          </a:lstStyle>
          <a:p>
            <a:r>
              <a:rPr lang="en-US"/>
              <a:t>Quantifying effect size between your intervention and control group in quasi-experimental design </a:t>
            </a:r>
          </a:p>
        </p:txBody>
      </p:sp>
      <p:sp>
        <p:nvSpPr>
          <p:cNvPr id="3" name="Content Placeholder 1">
            <a:extLst>
              <a:ext uri="{FF2B5EF4-FFF2-40B4-BE49-F238E27FC236}">
                <a16:creationId xmlns:a16="http://schemas.microsoft.com/office/drawing/2014/main" id="{549423E0-D19C-BABC-2B09-4B4531E71984}"/>
              </a:ext>
            </a:extLst>
          </p:cNvPr>
          <p:cNvSpPr txBox="1">
            <a:spLocks/>
          </p:cNvSpPr>
          <p:nvPr/>
        </p:nvSpPr>
        <p:spPr>
          <a:xfrm>
            <a:off x="342900" y="1720410"/>
            <a:ext cx="10492740" cy="1159461"/>
          </a:xfrm>
          <a:prstGeom prst="rect">
            <a:avLst/>
          </a:prstGeom>
        </p:spPr>
        <p:txBody>
          <a:bodyPr lIns="91440" tIns="45720" rIns="91440" bIns="45720" anchor="t">
            <a:noAutofit/>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Effect size can be used to measure the standardised size of the difference between the intervention and control group for any given measure of interes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e P-value alone only indicates whether any change in measures between the two groups is statistically significant (i.e., is down to more than just chance) and does not indicate the magnitude of the effec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When your data is normally distributed – you can use Cohen’s D to test the magnitude of the difference in measures between the two groups. This is a good statistic to use alongside a paired t-test to demonstrate a statistically significant difference in outcomes you are trying to impact through intervention.</a:t>
            </a:r>
            <a:endParaRPr kumimoji="0" lang="en-GB" sz="1100" b="0" i="0" u="none" strike="noStrike" kern="1200" cap="none" spc="0" normalizeH="0" baseline="0" noProof="0">
              <a:ln>
                <a:noFill/>
              </a:ln>
              <a:solidFill>
                <a:srgbClr val="4B4D4F"/>
              </a:solidFill>
              <a:effectLst/>
              <a:uLnTx/>
              <a:uFillTx/>
              <a:latin typeface="Arial" panose="020B0604020202020204"/>
              <a:ea typeface="+mn-ea"/>
              <a:cs typeface="Arial"/>
            </a:endParaRPr>
          </a:p>
        </p:txBody>
      </p:sp>
      <p:sp>
        <p:nvSpPr>
          <p:cNvPr id="4" name="Content Placeholder 1">
            <a:extLst>
              <a:ext uri="{FF2B5EF4-FFF2-40B4-BE49-F238E27FC236}">
                <a16:creationId xmlns:a16="http://schemas.microsoft.com/office/drawing/2014/main" id="{4694F8BE-4E50-46BD-414A-7CD1C3AFF1F8}"/>
              </a:ext>
            </a:extLst>
          </p:cNvPr>
          <p:cNvSpPr txBox="1">
            <a:spLocks/>
          </p:cNvSpPr>
          <p:nvPr/>
        </p:nvSpPr>
        <p:spPr>
          <a:xfrm>
            <a:off x="457198" y="4264287"/>
            <a:ext cx="10069832" cy="905975"/>
          </a:xfrm>
          <a:prstGeom prst="rect">
            <a:avLst/>
          </a:prstGeom>
        </p:spPr>
        <p:txBody>
          <a:bodyPr lIns="91440" tIns="45720" rIns="91440" bIns="45720" anchor="t">
            <a:noAutofit/>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Considerations</a:t>
            </a:r>
            <a:endParaRPr kumimoji="0" lang="en-GB" sz="1400" b="0" i="0" u="none" strike="noStrike" kern="1200" cap="none" spc="0" normalizeH="0" baseline="0" noProof="0">
              <a:ln>
                <a:noFill/>
              </a:ln>
              <a:solidFill>
                <a:srgbClr val="002677"/>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e size of the sample (intervention group)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 is the cohort big enough?</a:t>
            </a:r>
            <a:endParaRPr kumimoji="0" lang="en-GB"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e precision of the measures (the construct validity) will also affect how well what you are measuring reflects the concepts</a:t>
            </a:r>
            <a:endParaRPr kumimoji="0" lang="en-GB" sz="1100" b="0" i="0" u="none" strike="noStrike" kern="1200" cap="none" spc="0" normalizeH="0" baseline="0" noProof="0">
              <a:ln>
                <a:noFill/>
              </a:ln>
              <a:solidFill>
                <a:srgbClr val="4B4D4F"/>
              </a:solidFill>
              <a:effectLst/>
              <a:uLnTx/>
              <a:uFillTx/>
              <a:latin typeface="Arial" panose="020B0604020202020204"/>
              <a:ea typeface="+mn-ea"/>
              <a:cs typeface="Arial"/>
            </a:endParaRPr>
          </a:p>
        </p:txBody>
      </p:sp>
      <p:sp>
        <p:nvSpPr>
          <p:cNvPr id="7" name="TextBox 6">
            <a:extLst>
              <a:ext uri="{FF2B5EF4-FFF2-40B4-BE49-F238E27FC236}">
                <a16:creationId xmlns:a16="http://schemas.microsoft.com/office/drawing/2014/main" id="{017462EA-C50B-FE34-6E19-A8973077E61C}"/>
              </a:ext>
            </a:extLst>
          </p:cNvPr>
          <p:cNvSpPr txBox="1"/>
          <p:nvPr/>
        </p:nvSpPr>
        <p:spPr>
          <a:xfrm>
            <a:off x="2283263" y="3197733"/>
            <a:ext cx="7625474" cy="67437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42240" tIns="50800" rIns="142240" bIns="50800" numCol="1" spcCol="127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677"/>
                </a:solidFill>
                <a:effectLst/>
                <a:uLnTx/>
                <a:uFillTx/>
                <a:latin typeface="Arial" panose="020B0604020202020204"/>
                <a:ea typeface="+mn-ea"/>
                <a:cs typeface="+mn-cs"/>
              </a:rPr>
              <a:t>0.2 = Small effect size    |    0.5 = Medium effect size   |    0.8 = Large effect size</a:t>
            </a:r>
          </a:p>
        </p:txBody>
      </p:sp>
      <p:sp>
        <p:nvSpPr>
          <p:cNvPr id="5" name="Rectangle 4">
            <a:hlinkClick r:id="rId2" action="ppaction://hlinksldjump"/>
            <a:extLst>
              <a:ext uri="{FF2B5EF4-FFF2-40B4-BE49-F238E27FC236}">
                <a16:creationId xmlns:a16="http://schemas.microsoft.com/office/drawing/2014/main" id="{5FB77629-E5C1-B91D-4858-51DEBE232623}"/>
              </a:ext>
            </a:extLst>
          </p:cNvPr>
          <p:cNvSpPr/>
          <p:nvPr/>
        </p:nvSpPr>
        <p:spPr bwMode="gray">
          <a:xfrm>
            <a:off x="10462990"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hlinkClick r:id="rId3" action="ppaction://hlinksldjump"/>
            <a:extLst>
              <a:ext uri="{FF2B5EF4-FFF2-40B4-BE49-F238E27FC236}">
                <a16:creationId xmlns:a16="http://schemas.microsoft.com/office/drawing/2014/main" id="{2E848201-63BF-5F87-134E-018F5477C3F3}"/>
              </a:ext>
            </a:extLst>
          </p:cNvPr>
          <p:cNvSpPr/>
          <p:nvPr/>
        </p:nvSpPr>
        <p:spPr bwMode="gray">
          <a:xfrm>
            <a:off x="11284179"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453136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464CF2-51CD-DEA6-2562-E8D029BC2832}"/>
              </a:ext>
            </a:extLst>
          </p:cNvPr>
          <p:cNvSpPr>
            <a:spLocks noGrp="1"/>
          </p:cNvSpPr>
          <p:nvPr>
            <p:ph type="body" idx="1"/>
          </p:nvPr>
        </p:nvSpPr>
        <p:spPr/>
        <p:txBody>
          <a:bodyPr/>
          <a:lstStyle/>
          <a:p>
            <a:endParaRPr lang="en-US"/>
          </a:p>
        </p:txBody>
      </p:sp>
      <p:sp>
        <p:nvSpPr>
          <p:cNvPr id="3" name="Title 2">
            <a:extLst>
              <a:ext uri="{FF2B5EF4-FFF2-40B4-BE49-F238E27FC236}">
                <a16:creationId xmlns:a16="http://schemas.microsoft.com/office/drawing/2014/main" id="{5AAC5636-F814-1CE2-1EB3-591BF1D924FB}"/>
              </a:ext>
            </a:extLst>
          </p:cNvPr>
          <p:cNvSpPr>
            <a:spLocks noGrp="1"/>
          </p:cNvSpPr>
          <p:nvPr>
            <p:ph type="title"/>
          </p:nvPr>
        </p:nvSpPr>
        <p:spPr>
          <a:xfrm>
            <a:off x="1752600" y="2451107"/>
            <a:ext cx="8686800" cy="1523494"/>
          </a:xfrm>
        </p:spPr>
        <p:txBody>
          <a:bodyPr/>
          <a:lstStyle/>
          <a:p>
            <a:r>
              <a:rPr lang="en-US"/>
              <a:t>Quantitative data to support analysis</a:t>
            </a:r>
          </a:p>
        </p:txBody>
      </p:sp>
    </p:spTree>
    <p:extLst>
      <p:ext uri="{BB962C8B-B14F-4D97-AF65-F5344CB8AC3E}">
        <p14:creationId xmlns:p14="http://schemas.microsoft.com/office/powerpoint/2010/main" val="25880019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B14A09-2ED8-1821-A8F0-7F1687C8C0AD}"/>
              </a:ext>
            </a:extLst>
          </p:cNvPr>
          <p:cNvSpPr>
            <a:spLocks noGrp="1"/>
          </p:cNvSpPr>
          <p:nvPr>
            <p:ph type="title" hasCustomPrompt="1"/>
          </p:nvPr>
        </p:nvSpPr>
        <p:spPr bwMode="gray">
          <a:xfrm>
            <a:off x="457198" y="826727"/>
            <a:ext cx="10115552" cy="609398"/>
          </a:xfrm>
        </p:spPr>
        <p:txBody>
          <a:bodyPr/>
          <a:lstStyle>
            <a:lvl1pPr>
              <a:defRPr/>
            </a:lvl1pPr>
          </a:lstStyle>
          <a:p>
            <a:r>
              <a:rPr lang="en-US"/>
              <a:t>Quantifying effect size between your intervention and control group in quasi-experimental design – an example</a:t>
            </a:r>
          </a:p>
        </p:txBody>
      </p:sp>
      <p:sp>
        <p:nvSpPr>
          <p:cNvPr id="3" name="Text Placeholder 4">
            <a:extLst>
              <a:ext uri="{FF2B5EF4-FFF2-40B4-BE49-F238E27FC236}">
                <a16:creationId xmlns:a16="http://schemas.microsoft.com/office/drawing/2014/main" id="{D6A37A88-2513-A67A-178C-CF81A3343693}"/>
              </a:ext>
            </a:extLst>
          </p:cNvPr>
          <p:cNvSpPr txBox="1">
            <a:spLocks/>
          </p:cNvSpPr>
          <p:nvPr/>
        </p:nvSpPr>
        <p:spPr>
          <a:xfrm>
            <a:off x="1002099" y="1588770"/>
            <a:ext cx="9892193" cy="2099058"/>
          </a:xfrm>
          <a:prstGeom prst="rect">
            <a:avLst/>
          </a:prstGeom>
          <a:solidFill>
            <a:schemeClr val="bg2"/>
          </a:solidFill>
          <a:effectLst/>
        </p:spPr>
        <p:txBody>
          <a:bodyPr anchor="ctr"/>
          <a:lstStyle>
            <a:lvl1pPr marL="0" indent="0" algn="l" defTabSz="457200" rtl="0" eaLnBrk="1" latinLnBrk="0" hangingPunct="1">
              <a:spcBef>
                <a:spcPct val="20000"/>
              </a:spcBef>
              <a:buClr>
                <a:schemeClr val="tx2"/>
              </a:buClr>
              <a:buFont typeface="Arial"/>
              <a:buNone/>
              <a:defRPr lang="en-US" sz="1200" kern="1200" smtClean="0">
                <a:solidFill>
                  <a:schemeClr val="tx1"/>
                </a:solidFill>
                <a:latin typeface="+mn-lt"/>
                <a:ea typeface="+mn-ea"/>
                <a:cs typeface="+mn-cs"/>
              </a:defRPr>
            </a:lvl1pPr>
            <a:lvl2pPr marL="285744" indent="-273044" algn="l" defTabSz="457200" rtl="0" eaLnBrk="1" latinLnBrk="0" hangingPunct="1">
              <a:spcBef>
                <a:spcPct val="20000"/>
              </a:spcBef>
              <a:buClr>
                <a:schemeClr val="tx2"/>
              </a:buClr>
              <a:buFont typeface="Arial"/>
              <a:buChar char="•"/>
              <a:tabLst/>
              <a:defRPr lang="en-US" sz="1200" kern="1200" smtClean="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lang="en-US" sz="1100" kern="1200" smtClean="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lang="en-US" sz="1051" kern="1200" smtClean="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lang="en-GB" sz="1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20000"/>
              </a:spcBef>
              <a:spcAft>
                <a:spcPts val="0"/>
              </a:spcAft>
              <a:buClr>
                <a:srgbClr val="FF612B"/>
              </a:buClr>
              <a:buSzTx/>
              <a:buFont typeface="Arial"/>
              <a:buNone/>
              <a:tabLst/>
              <a:defRPr/>
            </a:pPr>
            <a:r>
              <a:rPr kumimoji="0" lang="en-US" sz="1400" b="1" i="1" u="none" strike="noStrike" kern="1200" cap="none" spc="0" normalizeH="0" baseline="0" noProof="0">
                <a:ln>
                  <a:noFill/>
                </a:ln>
                <a:solidFill>
                  <a:srgbClr val="002677"/>
                </a:solidFill>
                <a:effectLst/>
                <a:uLnTx/>
                <a:uFillTx/>
                <a:latin typeface="Arial" panose="020B0604020202020204"/>
                <a:ea typeface="+mn-ea"/>
                <a:cs typeface="+mn-cs"/>
              </a:rPr>
              <a:t>A&amp;E attendance rates in the intervention group compared with a control group:</a:t>
            </a:r>
          </a:p>
          <a:p>
            <a:pPr marL="0" marR="0" lvl="0" indent="0" algn="ctr" defTabSz="457200" rtl="0" eaLnBrk="1" fontAlgn="auto" latinLnBrk="0" hangingPunct="1">
              <a:lnSpc>
                <a:spcPct val="100000"/>
              </a:lnSpc>
              <a:spcBef>
                <a:spcPct val="20000"/>
              </a:spcBef>
              <a:spcAft>
                <a:spcPts val="0"/>
              </a:spcAft>
              <a:buClr>
                <a:srgbClr val="FF612B"/>
              </a:buClr>
              <a:buSzTx/>
              <a:buFont typeface="Arial"/>
              <a:buNone/>
              <a:tabLst/>
              <a:defRPr/>
            </a:pPr>
            <a:endParaRPr kumimoji="0" lang="en-US" sz="1400" b="1" i="1" u="none" strike="noStrike" kern="1200" cap="none" spc="0" normalizeH="0" baseline="0" noProof="0">
              <a:ln>
                <a:noFill/>
              </a:ln>
              <a:solidFill>
                <a:srgbClr val="002677"/>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ct val="20000"/>
              </a:spcBef>
              <a:spcAft>
                <a:spcPts val="0"/>
              </a:spcAft>
              <a:buClr>
                <a:srgbClr val="FF612B"/>
              </a:buClr>
              <a:buSzTx/>
              <a:buFont typeface="Arial"/>
              <a:buNone/>
              <a:tabLst/>
              <a:defRPr/>
            </a:pPr>
            <a:r>
              <a:rPr kumimoji="0" lang="en-US" sz="1400" b="0" i="0" u="none" strike="noStrike" kern="1200" cap="none" spc="0" normalizeH="0" baseline="0" noProof="0">
                <a:ln>
                  <a:noFill/>
                </a:ln>
                <a:solidFill>
                  <a:srgbClr val="002677"/>
                </a:solidFill>
                <a:effectLst/>
                <a:uLnTx/>
                <a:uFillTx/>
                <a:latin typeface="Arial" panose="020B0604020202020204"/>
                <a:ea typeface="+mn-ea"/>
                <a:cs typeface="+mn-cs"/>
              </a:rPr>
              <a:t>Cohen’s d = (x</a:t>
            </a:r>
            <a:r>
              <a:rPr kumimoji="0" lang="en-US" sz="1400" b="0" i="0" u="none" strike="noStrike" kern="1200" cap="none" spc="0" normalizeH="0" baseline="-25000" noProof="0">
                <a:ln>
                  <a:noFill/>
                </a:ln>
                <a:solidFill>
                  <a:srgbClr val="002677"/>
                </a:solidFill>
                <a:effectLst/>
                <a:uLnTx/>
                <a:uFillTx/>
                <a:latin typeface="Arial" panose="020B0604020202020204"/>
                <a:ea typeface="+mn-ea"/>
                <a:cs typeface="+mn-cs"/>
              </a:rPr>
              <a:t>1</a:t>
            </a:r>
            <a:r>
              <a:rPr kumimoji="0" lang="en-US" sz="1400" b="0" i="0" u="none" strike="noStrike" kern="1200" cap="none" spc="0" normalizeH="0" baseline="0" noProof="0">
                <a:ln>
                  <a:noFill/>
                </a:ln>
                <a:solidFill>
                  <a:srgbClr val="002677"/>
                </a:solidFill>
                <a:effectLst/>
                <a:uLnTx/>
                <a:uFillTx/>
                <a:latin typeface="Arial" panose="020B0604020202020204"/>
                <a:ea typeface="+mn-ea"/>
                <a:cs typeface="+mn-cs"/>
              </a:rPr>
              <a:t> – x</a:t>
            </a:r>
            <a:r>
              <a:rPr kumimoji="0" lang="en-US" sz="1400" b="0" i="0" u="none" strike="noStrike" kern="1200" cap="none" spc="0" normalizeH="0" baseline="-25000" noProof="0">
                <a:ln>
                  <a:noFill/>
                </a:ln>
                <a:solidFill>
                  <a:srgbClr val="002677"/>
                </a:solidFill>
                <a:effectLst/>
                <a:uLnTx/>
                <a:uFillTx/>
                <a:latin typeface="Arial" panose="020B0604020202020204"/>
                <a:ea typeface="+mn-ea"/>
                <a:cs typeface="+mn-cs"/>
              </a:rPr>
              <a:t>2</a:t>
            </a:r>
            <a:r>
              <a:rPr kumimoji="0" lang="en-US" sz="1400" b="0" i="0" u="none" strike="noStrike" kern="1200" cap="none" spc="0" normalizeH="0" baseline="0" noProof="0">
                <a:ln>
                  <a:noFill/>
                </a:ln>
                <a:solidFill>
                  <a:srgbClr val="002677"/>
                </a:solidFill>
                <a:effectLst/>
                <a:uLnTx/>
                <a:uFillTx/>
                <a:latin typeface="Arial" panose="020B0604020202020204"/>
                <a:ea typeface="+mn-ea"/>
                <a:cs typeface="+mn-cs"/>
              </a:rPr>
              <a:t>) / √(s</a:t>
            </a:r>
            <a:r>
              <a:rPr kumimoji="0" lang="en-US" sz="1400" b="0" i="0" u="none" strike="noStrike" kern="1200" cap="none" spc="0" normalizeH="0" baseline="-25000" noProof="0">
                <a:ln>
                  <a:noFill/>
                </a:ln>
                <a:solidFill>
                  <a:srgbClr val="002677"/>
                </a:solidFill>
                <a:effectLst/>
                <a:uLnTx/>
                <a:uFillTx/>
                <a:latin typeface="Arial" panose="020B0604020202020204"/>
                <a:ea typeface="+mn-ea"/>
                <a:cs typeface="+mn-cs"/>
              </a:rPr>
              <a:t>1</a:t>
            </a:r>
            <a:r>
              <a:rPr kumimoji="0" lang="en-US" sz="1400" b="0" i="0" u="none" strike="noStrike" kern="1200" cap="none" spc="0" normalizeH="0" baseline="30000" noProof="0">
                <a:ln>
                  <a:noFill/>
                </a:ln>
                <a:solidFill>
                  <a:srgbClr val="002677"/>
                </a:solidFill>
                <a:effectLst/>
                <a:uLnTx/>
                <a:uFillTx/>
                <a:latin typeface="Arial" panose="020B0604020202020204"/>
                <a:ea typeface="+mn-ea"/>
                <a:cs typeface="+mn-cs"/>
              </a:rPr>
              <a:t>2</a:t>
            </a:r>
            <a:r>
              <a:rPr kumimoji="0" lang="en-US" sz="1400" b="0" i="0" u="none" strike="noStrike" kern="1200" cap="none" spc="0" normalizeH="0" baseline="0" noProof="0">
                <a:ln>
                  <a:noFill/>
                </a:ln>
                <a:solidFill>
                  <a:srgbClr val="002677"/>
                </a:solidFill>
                <a:effectLst/>
                <a:uLnTx/>
                <a:uFillTx/>
                <a:latin typeface="Arial" panose="020B0604020202020204"/>
                <a:ea typeface="+mn-ea"/>
                <a:cs typeface="+mn-cs"/>
              </a:rPr>
              <a:t> + s</a:t>
            </a:r>
            <a:r>
              <a:rPr kumimoji="0" lang="en-US" sz="1400" b="0" i="0" u="none" strike="noStrike" kern="1200" cap="none" spc="0" normalizeH="0" baseline="-25000" noProof="0">
                <a:ln>
                  <a:noFill/>
                </a:ln>
                <a:solidFill>
                  <a:srgbClr val="002677"/>
                </a:solidFill>
                <a:effectLst/>
                <a:uLnTx/>
                <a:uFillTx/>
                <a:latin typeface="Arial" panose="020B0604020202020204"/>
                <a:ea typeface="+mn-ea"/>
                <a:cs typeface="+mn-cs"/>
              </a:rPr>
              <a:t>2</a:t>
            </a:r>
            <a:r>
              <a:rPr kumimoji="0" lang="en-US" sz="1400" b="0" i="0" u="none" strike="noStrike" kern="1200" cap="none" spc="0" normalizeH="0" baseline="30000" noProof="0">
                <a:ln>
                  <a:noFill/>
                </a:ln>
                <a:solidFill>
                  <a:srgbClr val="002677"/>
                </a:solidFill>
                <a:effectLst/>
                <a:uLnTx/>
                <a:uFillTx/>
                <a:latin typeface="Arial" panose="020B0604020202020204"/>
                <a:ea typeface="+mn-ea"/>
                <a:cs typeface="+mn-cs"/>
              </a:rPr>
              <a:t>2</a:t>
            </a:r>
            <a:r>
              <a:rPr kumimoji="0" lang="en-US" sz="1400" b="0" i="0" u="none" strike="noStrike" kern="1200" cap="none" spc="0" normalizeH="0" baseline="0" noProof="0">
                <a:ln>
                  <a:noFill/>
                </a:ln>
                <a:solidFill>
                  <a:srgbClr val="002677"/>
                </a:solidFill>
                <a:effectLst/>
                <a:uLnTx/>
                <a:uFillTx/>
                <a:latin typeface="Arial" panose="020B0604020202020204"/>
                <a:ea typeface="+mn-ea"/>
                <a:cs typeface="+mn-cs"/>
              </a:rPr>
              <a:t>) / 2</a:t>
            </a:r>
          </a:p>
          <a:p>
            <a:pPr marL="0" marR="0" lvl="0" indent="0" algn="ctr" defTabSz="457200" rtl="0" eaLnBrk="1" fontAlgn="auto" latinLnBrk="0" hangingPunct="1">
              <a:lnSpc>
                <a:spcPct val="100000"/>
              </a:lnSpc>
              <a:spcBef>
                <a:spcPct val="20000"/>
              </a:spcBef>
              <a:spcAft>
                <a:spcPts val="0"/>
              </a:spcAft>
              <a:buClr>
                <a:srgbClr val="FF612B"/>
              </a:buClr>
              <a:buSzTx/>
              <a:buFont typeface="Arial"/>
              <a:buNone/>
              <a:tabLst/>
              <a:defRPr/>
            </a:pPr>
            <a:endParaRPr kumimoji="0" lang="en-US" sz="1400" b="0" i="1" u="none" strike="noStrike" kern="1200" cap="none" spc="0" normalizeH="0" baseline="0" noProof="0">
              <a:ln>
                <a:noFill/>
              </a:ln>
              <a:solidFill>
                <a:srgbClr val="002677"/>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ct val="20000"/>
              </a:spcBef>
              <a:spcAft>
                <a:spcPts val="0"/>
              </a:spcAft>
              <a:buClr>
                <a:srgbClr val="FF612B"/>
              </a:buClr>
              <a:buSzTx/>
              <a:buFont typeface="Arial"/>
              <a:buNone/>
              <a:tabLst/>
              <a:defRPr/>
            </a:pPr>
            <a:r>
              <a:rPr kumimoji="0" lang="en-US" sz="1400" b="0" i="1" u="none" strike="noStrike" kern="1200" cap="none" spc="0" normalizeH="0" baseline="0" noProof="0">
                <a:ln>
                  <a:noFill/>
                </a:ln>
                <a:solidFill>
                  <a:srgbClr val="002677"/>
                </a:solidFill>
                <a:effectLst/>
                <a:uLnTx/>
                <a:uFillTx/>
                <a:latin typeface="Arial" panose="020B0604020202020204"/>
                <a:ea typeface="+mn-ea"/>
                <a:cs typeface="+mn-cs"/>
              </a:rPr>
              <a:t>x</a:t>
            </a:r>
            <a:r>
              <a:rPr kumimoji="0" lang="en-US" sz="1400" b="0" i="1" u="none" strike="noStrike" kern="1200" cap="none" spc="0" normalizeH="0" baseline="-25000" noProof="0">
                <a:ln>
                  <a:noFill/>
                </a:ln>
                <a:solidFill>
                  <a:srgbClr val="002677"/>
                </a:solidFill>
                <a:effectLst/>
                <a:uLnTx/>
                <a:uFillTx/>
                <a:latin typeface="Arial" panose="020B0604020202020204"/>
                <a:ea typeface="+mn-ea"/>
                <a:cs typeface="+mn-cs"/>
              </a:rPr>
              <a:t>1</a:t>
            </a:r>
            <a:r>
              <a:rPr kumimoji="0" lang="en-US" sz="1400" b="0" i="1" u="none" strike="noStrike" kern="1200" cap="none" spc="0" normalizeH="0" baseline="0" noProof="0">
                <a:ln>
                  <a:noFill/>
                </a:ln>
                <a:solidFill>
                  <a:srgbClr val="002677"/>
                </a:solidFill>
                <a:effectLst/>
                <a:uLnTx/>
                <a:uFillTx/>
                <a:latin typeface="Arial" panose="020B0604020202020204"/>
                <a:ea typeface="+mn-ea"/>
                <a:cs typeface="+mn-cs"/>
              </a:rPr>
              <a:t> , x</a:t>
            </a:r>
            <a:r>
              <a:rPr kumimoji="0" lang="en-US" sz="1400" b="0" i="1" u="none" strike="noStrike" kern="1200" cap="none" spc="0" normalizeH="0" baseline="-25000" noProof="0">
                <a:ln>
                  <a:noFill/>
                </a:ln>
                <a:solidFill>
                  <a:srgbClr val="002677"/>
                </a:solidFill>
                <a:effectLst/>
                <a:uLnTx/>
                <a:uFillTx/>
                <a:latin typeface="Arial" panose="020B0604020202020204"/>
                <a:ea typeface="+mn-ea"/>
                <a:cs typeface="+mn-cs"/>
              </a:rPr>
              <a:t>2</a:t>
            </a:r>
            <a:r>
              <a:rPr kumimoji="0" lang="en-US" sz="1400" b="0" i="1" u="none" strike="noStrike" kern="1200" cap="none" spc="0" normalizeH="0" baseline="0" noProof="0">
                <a:ln>
                  <a:noFill/>
                </a:ln>
                <a:solidFill>
                  <a:srgbClr val="002677"/>
                </a:solidFill>
                <a:effectLst/>
                <a:uLnTx/>
                <a:uFillTx/>
                <a:latin typeface="Arial" panose="020B0604020202020204"/>
                <a:ea typeface="+mn-ea"/>
                <a:cs typeface="+mn-cs"/>
              </a:rPr>
              <a:t>: mean of control group and intervention group, respectively</a:t>
            </a:r>
          </a:p>
          <a:p>
            <a:pPr marL="0" marR="0" lvl="0" indent="0" algn="ctr" defTabSz="457200" rtl="0" eaLnBrk="1" fontAlgn="auto" latinLnBrk="0" hangingPunct="1">
              <a:lnSpc>
                <a:spcPct val="100000"/>
              </a:lnSpc>
              <a:spcBef>
                <a:spcPct val="20000"/>
              </a:spcBef>
              <a:spcAft>
                <a:spcPts val="0"/>
              </a:spcAft>
              <a:buClr>
                <a:srgbClr val="FF612B"/>
              </a:buClr>
              <a:buSzTx/>
              <a:buFont typeface="Arial"/>
              <a:buNone/>
              <a:tabLst/>
              <a:defRPr/>
            </a:pPr>
            <a:r>
              <a:rPr kumimoji="0" lang="en-US" sz="1400" b="0" i="1" u="none" strike="noStrike" kern="1200" cap="none" spc="0" normalizeH="0" baseline="0" noProof="0">
                <a:ln>
                  <a:noFill/>
                </a:ln>
                <a:solidFill>
                  <a:srgbClr val="002677"/>
                </a:solidFill>
                <a:effectLst/>
                <a:uLnTx/>
                <a:uFillTx/>
                <a:latin typeface="Arial" panose="020B0604020202020204"/>
                <a:ea typeface="+mn-ea"/>
                <a:cs typeface="+mn-cs"/>
              </a:rPr>
              <a:t>s</a:t>
            </a:r>
            <a:r>
              <a:rPr kumimoji="0" lang="en-US" sz="1400" b="0" i="1" u="none" strike="noStrike" kern="1200" cap="none" spc="0" normalizeH="0" baseline="-25000" noProof="0">
                <a:ln>
                  <a:noFill/>
                </a:ln>
                <a:solidFill>
                  <a:srgbClr val="002677"/>
                </a:solidFill>
                <a:effectLst/>
                <a:uLnTx/>
                <a:uFillTx/>
                <a:latin typeface="Arial" panose="020B0604020202020204"/>
                <a:ea typeface="+mn-ea"/>
                <a:cs typeface="+mn-cs"/>
              </a:rPr>
              <a:t>1</a:t>
            </a:r>
            <a:r>
              <a:rPr kumimoji="0" lang="en-US" sz="1400" b="0" i="1" u="none" strike="noStrike" kern="1200" cap="none" spc="0" normalizeH="0" baseline="0" noProof="0">
                <a:ln>
                  <a:noFill/>
                </a:ln>
                <a:solidFill>
                  <a:srgbClr val="002677"/>
                </a:solidFill>
                <a:effectLst/>
                <a:uLnTx/>
                <a:uFillTx/>
                <a:latin typeface="Arial" panose="020B0604020202020204"/>
                <a:ea typeface="+mn-ea"/>
                <a:cs typeface="+mn-cs"/>
              </a:rPr>
              <a:t>, s</a:t>
            </a:r>
            <a:r>
              <a:rPr kumimoji="0" lang="en-US" sz="1400" b="0" i="1" u="none" strike="noStrike" kern="1200" cap="none" spc="0" normalizeH="0" baseline="-25000" noProof="0">
                <a:ln>
                  <a:noFill/>
                </a:ln>
                <a:solidFill>
                  <a:srgbClr val="002677"/>
                </a:solidFill>
                <a:effectLst/>
                <a:uLnTx/>
                <a:uFillTx/>
                <a:latin typeface="Arial" panose="020B0604020202020204"/>
                <a:ea typeface="+mn-ea"/>
                <a:cs typeface="+mn-cs"/>
              </a:rPr>
              <a:t>2</a:t>
            </a:r>
            <a:r>
              <a:rPr kumimoji="0" lang="en-US" sz="1400" b="0" i="1" u="none" strike="noStrike" kern="1200" cap="none" spc="0" normalizeH="0" baseline="0" noProof="0">
                <a:ln>
                  <a:noFill/>
                </a:ln>
                <a:solidFill>
                  <a:srgbClr val="002677"/>
                </a:solidFill>
                <a:effectLst/>
                <a:uLnTx/>
                <a:uFillTx/>
                <a:latin typeface="Arial" panose="020B0604020202020204"/>
                <a:ea typeface="+mn-ea"/>
                <a:cs typeface="+mn-cs"/>
              </a:rPr>
              <a:t>: variance of control group and intervention group, respectively</a:t>
            </a:r>
          </a:p>
        </p:txBody>
      </p:sp>
      <p:sp>
        <p:nvSpPr>
          <p:cNvPr id="4" name="Text Placeholder 4">
            <a:extLst>
              <a:ext uri="{FF2B5EF4-FFF2-40B4-BE49-F238E27FC236}">
                <a16:creationId xmlns:a16="http://schemas.microsoft.com/office/drawing/2014/main" id="{DB2062B4-9592-E36E-1B30-0B4A9309684C}"/>
              </a:ext>
            </a:extLst>
          </p:cNvPr>
          <p:cNvSpPr txBox="1">
            <a:spLocks/>
          </p:cNvSpPr>
          <p:nvPr/>
        </p:nvSpPr>
        <p:spPr>
          <a:xfrm>
            <a:off x="1002098" y="3769925"/>
            <a:ext cx="9892193" cy="2261348"/>
          </a:xfrm>
          <a:prstGeom prst="rect">
            <a:avLst/>
          </a:prstGeom>
          <a:solidFill>
            <a:srgbClr val="FBF9F4"/>
          </a:solidFill>
          <a:effectLst/>
        </p:spPr>
        <p:txBody>
          <a:bodyPr anchor="ctr"/>
          <a:lstStyle>
            <a:lvl1pPr marL="0" indent="0" algn="l" defTabSz="457200" rtl="0" eaLnBrk="1" latinLnBrk="0" hangingPunct="1">
              <a:spcBef>
                <a:spcPct val="20000"/>
              </a:spcBef>
              <a:buClr>
                <a:schemeClr val="tx2"/>
              </a:buClr>
              <a:buFont typeface="Arial"/>
              <a:buNone/>
              <a:defRPr lang="en-US" sz="1200" kern="1200" smtClean="0">
                <a:solidFill>
                  <a:schemeClr val="tx1"/>
                </a:solidFill>
                <a:latin typeface="+mn-lt"/>
                <a:ea typeface="+mn-ea"/>
                <a:cs typeface="+mn-cs"/>
              </a:defRPr>
            </a:lvl1pPr>
            <a:lvl2pPr marL="285744" indent="-273044" algn="l" defTabSz="457200" rtl="0" eaLnBrk="1" latinLnBrk="0" hangingPunct="1">
              <a:spcBef>
                <a:spcPct val="20000"/>
              </a:spcBef>
              <a:buClr>
                <a:schemeClr val="tx2"/>
              </a:buClr>
              <a:buFont typeface="Arial"/>
              <a:buChar char="•"/>
              <a:tabLst/>
              <a:defRPr lang="en-US" sz="1200" kern="1200" smtClean="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lang="en-US" sz="1100" kern="1200" smtClean="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lang="en-US" sz="1051" kern="1200" smtClean="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lang="en-GB" sz="1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20000"/>
              </a:spcBef>
              <a:spcAft>
                <a:spcPts val="0"/>
              </a:spcAft>
              <a:buClr>
                <a:srgbClr val="FF612B"/>
              </a:buClr>
              <a:buSzTx/>
              <a:buFont typeface="Arial"/>
              <a:buNone/>
              <a:tabLst/>
              <a:defRPr/>
            </a:pPr>
            <a:r>
              <a:rPr kumimoji="0" lang="en-US" sz="1400" b="1" i="1" u="none" strike="noStrike" kern="1200" cap="none" spc="0" normalizeH="0" baseline="0" noProof="0">
                <a:ln>
                  <a:noFill/>
                </a:ln>
                <a:solidFill>
                  <a:srgbClr val="4B4D4F"/>
                </a:solidFill>
                <a:effectLst/>
                <a:uLnTx/>
                <a:uFillTx/>
                <a:latin typeface="Arial" panose="020B0604020202020204"/>
                <a:ea typeface="+mn-ea"/>
                <a:cs typeface="+mn-cs"/>
              </a:rPr>
              <a:t>A&amp;E attendance rates per 1,000 individuals in the intervention group compared with a control group:</a:t>
            </a:r>
          </a:p>
          <a:p>
            <a:pPr marL="0" marR="0" lvl="0" indent="0" algn="ctr" defTabSz="457200" rtl="0" eaLnBrk="1" fontAlgn="auto" latinLnBrk="0" hangingPunct="1">
              <a:lnSpc>
                <a:spcPct val="100000"/>
              </a:lnSpc>
              <a:spcBef>
                <a:spcPct val="20000"/>
              </a:spcBef>
              <a:spcAft>
                <a:spcPts val="0"/>
              </a:spcAft>
              <a:buClr>
                <a:srgbClr val="FF612B"/>
              </a:buClr>
              <a:buSzTx/>
              <a:buFont typeface="Arial"/>
              <a:buNone/>
              <a:tabLst/>
              <a:defRPr/>
            </a:pPr>
            <a:endParaRPr kumimoji="0" lang="en-US" sz="1400" b="1" i="1"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ct val="20000"/>
              </a:spcBef>
              <a:spcAft>
                <a:spcPts val="0"/>
              </a:spcAft>
              <a:buClr>
                <a:srgbClr val="FF612B"/>
              </a:buClr>
              <a:buSzTx/>
              <a:buFont typeface="Arial"/>
              <a:buNone/>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Cohen’s d = (3.4 – 0.9) / √(7.2</a:t>
            </a:r>
            <a:r>
              <a:rPr kumimoji="0" lang="en-US" sz="1400" b="0" i="0" u="none" strike="noStrike" kern="1200" cap="none" spc="0" normalizeH="0" baseline="30000" noProof="0">
                <a:ln>
                  <a:noFill/>
                </a:ln>
                <a:solidFill>
                  <a:srgbClr val="4B4D4F"/>
                </a:solidFill>
                <a:effectLst/>
                <a:uLnTx/>
                <a:uFillTx/>
                <a:latin typeface="Arial" panose="020B0604020202020204"/>
                <a:ea typeface="+mn-ea"/>
                <a:cs typeface="+mn-cs"/>
              </a:rPr>
              <a:t>2</a:t>
            </a: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 + 2.4</a:t>
            </a:r>
            <a:r>
              <a:rPr kumimoji="0" lang="en-US" sz="1400" b="0" i="0" u="none" strike="noStrike" kern="1200" cap="none" spc="0" normalizeH="0" baseline="30000" noProof="0">
                <a:ln>
                  <a:noFill/>
                </a:ln>
                <a:solidFill>
                  <a:srgbClr val="4B4D4F"/>
                </a:solidFill>
                <a:effectLst/>
                <a:uLnTx/>
                <a:uFillTx/>
                <a:latin typeface="Arial" panose="020B0604020202020204"/>
                <a:ea typeface="+mn-ea"/>
                <a:cs typeface="+mn-cs"/>
              </a:rPr>
              <a:t>2</a:t>
            </a: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 / 2 </a:t>
            </a:r>
          </a:p>
          <a:p>
            <a:pPr marL="0" marR="0" lvl="0" indent="0" algn="ctr" defTabSz="457200" rtl="0" eaLnBrk="1" fontAlgn="auto" latinLnBrk="0" hangingPunct="1">
              <a:lnSpc>
                <a:spcPct val="100000"/>
              </a:lnSpc>
              <a:spcBef>
                <a:spcPct val="20000"/>
              </a:spcBef>
              <a:spcAft>
                <a:spcPts val="0"/>
              </a:spcAft>
              <a:buClr>
                <a:srgbClr val="FF612B"/>
              </a:buClr>
              <a:buSzTx/>
              <a:buFont typeface="Arial"/>
              <a:buNone/>
              <a:tabLst/>
              <a:defRPr/>
            </a:pPr>
            <a:endParaRPr kumimoji="0" lang="en-US" sz="1400" b="0" i="1"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ct val="20000"/>
              </a:spcBef>
              <a:spcAft>
                <a:spcPts val="0"/>
              </a:spcAft>
              <a:buClr>
                <a:srgbClr val="FF612B"/>
              </a:buClr>
              <a:buSzTx/>
              <a:buFont typeface="Arial"/>
              <a:buNone/>
              <a:tabLst/>
              <a:defRPr/>
            </a:pPr>
            <a:r>
              <a:rPr kumimoji="0" lang="en-US" sz="1400" b="0" i="1" u="none" strike="noStrike" kern="1200" cap="none" spc="0" normalizeH="0" baseline="0" noProof="0">
                <a:ln>
                  <a:noFill/>
                </a:ln>
                <a:solidFill>
                  <a:srgbClr val="4B4D4F"/>
                </a:solidFill>
                <a:effectLst/>
                <a:uLnTx/>
                <a:uFillTx/>
                <a:latin typeface="Arial" panose="020B0604020202020204"/>
                <a:ea typeface="+mn-ea"/>
                <a:cs typeface="+mn-cs"/>
              </a:rPr>
              <a:t>= 0.465 indicating a medium effect size for the intervention</a:t>
            </a:r>
          </a:p>
          <a:p>
            <a:pPr marL="0" marR="0" lvl="0" indent="0" algn="ctr" defTabSz="457200" rtl="0" eaLnBrk="1" fontAlgn="auto" latinLnBrk="0" hangingPunct="1">
              <a:lnSpc>
                <a:spcPct val="100000"/>
              </a:lnSpc>
              <a:spcBef>
                <a:spcPct val="20000"/>
              </a:spcBef>
              <a:spcAft>
                <a:spcPts val="0"/>
              </a:spcAft>
              <a:buClr>
                <a:srgbClr val="FF612B"/>
              </a:buClr>
              <a:buSzTx/>
              <a:buFont typeface="Arial"/>
              <a:buNone/>
              <a:tabLst/>
              <a:defRPr/>
            </a:pPr>
            <a:endParaRPr kumimoji="0" lang="en-US" sz="1400" b="0" i="1"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ct val="20000"/>
              </a:spcBef>
              <a:spcAft>
                <a:spcPts val="0"/>
              </a:spcAft>
              <a:buClr>
                <a:srgbClr val="FF612B"/>
              </a:buClr>
              <a:buSzTx/>
              <a:buFont typeface="Arial"/>
              <a:buNone/>
              <a:tabLst/>
              <a:defRPr/>
            </a:pPr>
            <a:r>
              <a:rPr kumimoji="0" lang="en-US" sz="1400" b="0" i="1" u="none" strike="noStrike" kern="1200" cap="none" spc="0" normalizeH="0" baseline="0" noProof="0">
                <a:ln>
                  <a:noFill/>
                </a:ln>
                <a:solidFill>
                  <a:srgbClr val="4B4D4F"/>
                </a:solidFill>
                <a:effectLst/>
                <a:uLnTx/>
                <a:uFillTx/>
                <a:latin typeface="Arial" panose="020B0604020202020204"/>
                <a:ea typeface="+mn-ea"/>
                <a:cs typeface="+mn-cs"/>
              </a:rPr>
              <a:t>= Mean difference is </a:t>
            </a:r>
            <a:r>
              <a:rPr kumimoji="0" lang="en-US" sz="1400" b="0" i="1" u="sng" strike="noStrike" kern="1200" cap="none" spc="0" normalizeH="0" baseline="0" noProof="0">
                <a:ln>
                  <a:noFill/>
                </a:ln>
                <a:solidFill>
                  <a:srgbClr val="4B4D4F"/>
                </a:solidFill>
                <a:effectLst/>
                <a:uLnTx/>
                <a:uFillTx/>
                <a:latin typeface="Arial" panose="020B0604020202020204"/>
                <a:ea typeface="+mn-ea"/>
                <a:cs typeface="+mn-cs"/>
              </a:rPr>
              <a:t>significant</a:t>
            </a:r>
            <a:r>
              <a:rPr kumimoji="0" lang="en-US" sz="1400" b="0" i="1" u="none" strike="noStrike" kern="1200" cap="none" spc="0" normalizeH="0" baseline="0" noProof="0">
                <a:ln>
                  <a:noFill/>
                </a:ln>
                <a:solidFill>
                  <a:srgbClr val="4B4D4F"/>
                </a:solidFill>
                <a:effectLst/>
                <a:uLnTx/>
                <a:uFillTx/>
                <a:latin typeface="Arial" panose="020B0604020202020204"/>
                <a:ea typeface="+mn-ea"/>
                <a:cs typeface="+mn-cs"/>
              </a:rPr>
              <a:t> with a reduction in 2.4 A&amp;E attendances per 1,000 individuals</a:t>
            </a:r>
          </a:p>
        </p:txBody>
      </p:sp>
      <p:sp>
        <p:nvSpPr>
          <p:cNvPr id="5" name="Rectangle 4">
            <a:hlinkClick r:id="rId2" action="ppaction://hlinksldjump"/>
            <a:extLst>
              <a:ext uri="{FF2B5EF4-FFF2-40B4-BE49-F238E27FC236}">
                <a16:creationId xmlns:a16="http://schemas.microsoft.com/office/drawing/2014/main" id="{13BAC244-81F1-20FB-37FC-474092953AC8}"/>
              </a:ext>
            </a:extLst>
          </p:cNvPr>
          <p:cNvSpPr/>
          <p:nvPr/>
        </p:nvSpPr>
        <p:spPr bwMode="gray">
          <a:xfrm>
            <a:off x="10462990"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hlinkClick r:id="" action="ppaction://noaction"/>
            <a:extLst>
              <a:ext uri="{FF2B5EF4-FFF2-40B4-BE49-F238E27FC236}">
                <a16:creationId xmlns:a16="http://schemas.microsoft.com/office/drawing/2014/main" id="{63C91F02-2BC3-0278-94FA-E54F762457F2}"/>
              </a:ext>
            </a:extLst>
          </p:cNvPr>
          <p:cNvSpPr/>
          <p:nvPr/>
        </p:nvSpPr>
        <p:spPr bwMode="gray">
          <a:xfrm>
            <a:off x="11316726"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080909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6662E1-FF53-43B2-4962-3E9C241EA31C}"/>
              </a:ext>
            </a:extLst>
          </p:cNvPr>
          <p:cNvSpPr>
            <a:spLocks noGrp="1"/>
          </p:cNvSpPr>
          <p:nvPr>
            <p:ph type="body" idx="1"/>
          </p:nvPr>
        </p:nvSpPr>
        <p:spPr/>
        <p:txBody>
          <a:bodyPr/>
          <a:lstStyle/>
          <a:p>
            <a:endParaRPr lang="en-US"/>
          </a:p>
        </p:txBody>
      </p:sp>
      <p:sp>
        <p:nvSpPr>
          <p:cNvPr id="3" name="Title 2">
            <a:extLst>
              <a:ext uri="{FF2B5EF4-FFF2-40B4-BE49-F238E27FC236}">
                <a16:creationId xmlns:a16="http://schemas.microsoft.com/office/drawing/2014/main" id="{C80227BB-FCC0-69A3-D620-86DA34FFFEB1}"/>
              </a:ext>
            </a:extLst>
          </p:cNvPr>
          <p:cNvSpPr>
            <a:spLocks noGrp="1"/>
          </p:cNvSpPr>
          <p:nvPr>
            <p:ph type="title"/>
          </p:nvPr>
        </p:nvSpPr>
        <p:spPr>
          <a:xfrm>
            <a:off x="1752600" y="3212854"/>
            <a:ext cx="8686800" cy="761747"/>
          </a:xfrm>
        </p:spPr>
        <p:txBody>
          <a:bodyPr/>
          <a:lstStyle/>
          <a:p>
            <a:r>
              <a:rPr lang="en-US"/>
              <a:t>Summary and next steps</a:t>
            </a:r>
          </a:p>
        </p:txBody>
      </p:sp>
    </p:spTree>
    <p:extLst>
      <p:ext uri="{BB962C8B-B14F-4D97-AF65-F5344CB8AC3E}">
        <p14:creationId xmlns:p14="http://schemas.microsoft.com/office/powerpoint/2010/main" val="7201350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D49FDBE-1643-4809-5608-D9B27BC5480C}"/>
              </a:ext>
            </a:extLst>
          </p:cNvPr>
          <p:cNvSpPr/>
          <p:nvPr/>
        </p:nvSpPr>
        <p:spPr bwMode="gray">
          <a:xfrm>
            <a:off x="457199" y="4244474"/>
            <a:ext cx="5878945" cy="523220"/>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Content Placeholder 1">
            <a:extLst>
              <a:ext uri="{FF2B5EF4-FFF2-40B4-BE49-F238E27FC236}">
                <a16:creationId xmlns:a16="http://schemas.microsoft.com/office/drawing/2014/main" id="{085535D4-D810-FCF5-8EB8-30CD82E3D354}"/>
              </a:ext>
            </a:extLst>
          </p:cNvPr>
          <p:cNvSpPr>
            <a:spLocks noGrp="1"/>
          </p:cNvSpPr>
          <p:nvPr>
            <p:ph idx="1"/>
          </p:nvPr>
        </p:nvSpPr>
        <p:spPr>
          <a:xfrm>
            <a:off x="457199" y="1608235"/>
            <a:ext cx="5454074" cy="3930085"/>
          </a:xfrm>
        </p:spPr>
        <p:txBody>
          <a:bodyPr>
            <a:normAutofit/>
          </a:bodyPr>
          <a:lstStyle/>
          <a:p>
            <a:r>
              <a:rPr lang="en-US" sz="1600"/>
              <a:t>Today we have:</a:t>
            </a:r>
          </a:p>
          <a:p>
            <a:pPr marL="285750" indent="-285750">
              <a:buFont typeface="Arial" panose="020B0604020202020204" pitchFamily="34" charset="0"/>
              <a:buChar char="•"/>
            </a:pPr>
            <a:r>
              <a:rPr lang="en-US" sz="1400"/>
              <a:t>Recapped on the types of quantitative data and methods of collection</a:t>
            </a:r>
          </a:p>
          <a:p>
            <a:pPr marL="285750" indent="-285750">
              <a:buFont typeface="Arial" panose="020B0604020202020204" pitchFamily="34" charset="0"/>
              <a:buChar char="•"/>
            </a:pPr>
            <a:r>
              <a:rPr lang="en-US" sz="1400"/>
              <a:t>Explored different evaluation study designs</a:t>
            </a:r>
          </a:p>
          <a:p>
            <a:pPr marL="285750" indent="-285750">
              <a:buFont typeface="Arial" panose="020B0604020202020204" pitchFamily="34" charset="0"/>
              <a:buChar char="•"/>
            </a:pPr>
            <a:r>
              <a:rPr lang="en-US" sz="1400"/>
              <a:t>Focused on analytical approaches to disentangle causality from association </a:t>
            </a:r>
          </a:p>
          <a:p>
            <a:pPr marL="285750" indent="-285750">
              <a:buFont typeface="Arial" panose="020B0604020202020204" pitchFamily="34" charset="0"/>
              <a:buChar char="•"/>
            </a:pPr>
            <a:r>
              <a:rPr lang="en-US" sz="1400"/>
              <a:t>Considered methods to measure impact</a:t>
            </a:r>
          </a:p>
        </p:txBody>
      </p:sp>
      <p:sp>
        <p:nvSpPr>
          <p:cNvPr id="3" name="Title 2">
            <a:extLst>
              <a:ext uri="{FF2B5EF4-FFF2-40B4-BE49-F238E27FC236}">
                <a16:creationId xmlns:a16="http://schemas.microsoft.com/office/drawing/2014/main" id="{7B93A50F-A257-0C2A-C03A-E3BE9283F0D1}"/>
              </a:ext>
            </a:extLst>
          </p:cNvPr>
          <p:cNvSpPr>
            <a:spLocks noGrp="1"/>
          </p:cNvSpPr>
          <p:nvPr>
            <p:ph type="title"/>
          </p:nvPr>
        </p:nvSpPr>
        <p:spPr/>
        <p:txBody>
          <a:bodyPr/>
          <a:lstStyle/>
          <a:p>
            <a:r>
              <a:rPr lang="en-GB"/>
              <a:t>Summary</a:t>
            </a:r>
            <a:endParaRPr lang="en-US"/>
          </a:p>
        </p:txBody>
      </p:sp>
      <p:cxnSp>
        <p:nvCxnSpPr>
          <p:cNvPr id="4" name="Straight Connector 3">
            <a:extLst>
              <a:ext uri="{FF2B5EF4-FFF2-40B4-BE49-F238E27FC236}">
                <a16:creationId xmlns:a16="http://schemas.microsoft.com/office/drawing/2014/main" id="{2F4FBB0F-5237-D8CD-3CEF-0FCA590944FD}"/>
              </a:ext>
            </a:extLst>
          </p:cNvPr>
          <p:cNvCxnSpPr>
            <a:cxnSpLocks/>
          </p:cNvCxnSpPr>
          <p:nvPr/>
        </p:nvCxnSpPr>
        <p:spPr bwMode="gray">
          <a:xfrm>
            <a:off x="6336145" y="1257300"/>
            <a:ext cx="0" cy="4147904"/>
          </a:xfrm>
          <a:prstGeom prst="line">
            <a:avLst/>
          </a:prstGeom>
          <a:noFill/>
          <a:ln w="19050" cap="rnd" cmpd="sng" algn="ctr">
            <a:solidFill>
              <a:srgbClr val="002677"/>
            </a:solidFill>
            <a:prstDash val="solid"/>
            <a:round/>
            <a:headEnd w="lg" len="med"/>
            <a:tailEnd type="none" w="lg" len="med"/>
          </a:ln>
          <a:effectLst/>
        </p:spPr>
      </p:cxnSp>
      <p:grpSp>
        <p:nvGrpSpPr>
          <p:cNvPr id="6" name="Group 5">
            <a:extLst>
              <a:ext uri="{FF2B5EF4-FFF2-40B4-BE49-F238E27FC236}">
                <a16:creationId xmlns:a16="http://schemas.microsoft.com/office/drawing/2014/main" id="{B9ECDBD1-85A5-3FA9-9529-19DAFC396796}"/>
              </a:ext>
            </a:extLst>
          </p:cNvPr>
          <p:cNvGrpSpPr/>
          <p:nvPr/>
        </p:nvGrpSpPr>
        <p:grpSpPr>
          <a:xfrm>
            <a:off x="7065805" y="2507971"/>
            <a:ext cx="3783105" cy="1382811"/>
            <a:chOff x="6014148" y="1662697"/>
            <a:chExt cx="3783105" cy="1382811"/>
          </a:xfrm>
          <a:noFill/>
        </p:grpSpPr>
        <p:sp>
          <p:nvSpPr>
            <p:cNvPr id="7" name="TextBox 6">
              <a:extLst>
                <a:ext uri="{FF2B5EF4-FFF2-40B4-BE49-F238E27FC236}">
                  <a16:creationId xmlns:a16="http://schemas.microsoft.com/office/drawing/2014/main" id="{6F64C715-F8C1-51AB-2C33-4864CC752E20}"/>
                </a:ext>
              </a:extLst>
            </p:cNvPr>
            <p:cNvSpPr txBox="1"/>
            <p:nvPr/>
          </p:nvSpPr>
          <p:spPr bwMode="gray">
            <a:xfrm>
              <a:off x="6014148" y="1662697"/>
              <a:ext cx="3023086" cy="276999"/>
            </a:xfrm>
            <a:prstGeom prst="rect">
              <a:avLst/>
            </a:prstGeom>
            <a:grp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1F3864"/>
                  </a:solidFill>
                  <a:effectLst/>
                  <a:uLnTx/>
                  <a:uFillTx/>
                  <a:latin typeface="Arial" panose="020B0604020202020204" pitchFamily="34" charset="0"/>
                  <a:ea typeface="DengXian" panose="02010600030101010101" pitchFamily="2" charset="-122"/>
                  <a:cs typeface="+mn-cs"/>
                </a:rPr>
                <a:t>Marcus Green</a:t>
              </a:r>
              <a:endParaRPr kumimoji="0" lang="en-US" sz="1800" b="1"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0A4FF94A-9930-1FD1-9897-E2FE2F232C60}"/>
                </a:ext>
              </a:extLst>
            </p:cNvPr>
            <p:cNvSpPr txBox="1"/>
            <p:nvPr/>
          </p:nvSpPr>
          <p:spPr bwMode="gray">
            <a:xfrm>
              <a:off x="6014148" y="2121899"/>
              <a:ext cx="3443888" cy="246221"/>
            </a:xfrm>
            <a:prstGeom prst="rect">
              <a:avLst/>
            </a:prstGeom>
            <a:grp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1" u="none" strike="noStrike" kern="1200" cap="none" spc="0" normalizeH="0" baseline="0" noProof="0">
                  <a:ln>
                    <a:noFill/>
                  </a:ln>
                  <a:solidFill>
                    <a:srgbClr val="002677"/>
                  </a:solidFill>
                  <a:effectLst/>
                  <a:uLnTx/>
                  <a:uFillTx/>
                  <a:latin typeface="Arial" panose="020B0604020202020204"/>
                  <a:ea typeface="+mn-ea"/>
                  <a:cs typeface="+mn-cs"/>
                </a:rPr>
                <a:t>Population Health Analytics Director</a:t>
              </a:r>
            </a:p>
          </p:txBody>
        </p:sp>
        <p:grpSp>
          <p:nvGrpSpPr>
            <p:cNvPr id="9" name="Group 8">
              <a:extLst>
                <a:ext uri="{FF2B5EF4-FFF2-40B4-BE49-F238E27FC236}">
                  <a16:creationId xmlns:a16="http://schemas.microsoft.com/office/drawing/2014/main" id="{ADA4C5B3-BA26-3475-60D1-03BEAEA6669A}"/>
                </a:ext>
              </a:extLst>
            </p:cNvPr>
            <p:cNvGrpSpPr/>
            <p:nvPr/>
          </p:nvGrpSpPr>
          <p:grpSpPr>
            <a:xfrm>
              <a:off x="6096000" y="2517596"/>
              <a:ext cx="3701253" cy="527912"/>
              <a:chOff x="5771125" y="3838946"/>
              <a:chExt cx="3701253" cy="527912"/>
            </a:xfrm>
            <a:grpFill/>
          </p:grpSpPr>
          <p:pic>
            <p:nvPicPr>
              <p:cNvPr id="15" name="Picture 14">
                <a:extLst>
                  <a:ext uri="{FF2B5EF4-FFF2-40B4-BE49-F238E27FC236}">
                    <a16:creationId xmlns:a16="http://schemas.microsoft.com/office/drawing/2014/main" id="{56AD1DDB-4ECB-7252-E1F5-620D246C1B2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5771125" y="3838946"/>
                <a:ext cx="527912" cy="527912"/>
              </a:xfrm>
              <a:prstGeom prst="rect">
                <a:avLst/>
              </a:prstGeom>
              <a:grpFill/>
            </p:spPr>
          </p:pic>
          <p:sp>
            <p:nvSpPr>
              <p:cNvPr id="16" name="Text Placeholder 17">
                <a:extLst>
                  <a:ext uri="{FF2B5EF4-FFF2-40B4-BE49-F238E27FC236}">
                    <a16:creationId xmlns:a16="http://schemas.microsoft.com/office/drawing/2014/main" id="{5F3DBB55-B8F9-BD0A-AFA2-66882DA2A6B0}"/>
                  </a:ext>
                </a:extLst>
              </p:cNvPr>
              <p:cNvSpPr txBox="1">
                <a:spLocks/>
              </p:cNvSpPr>
              <p:nvPr/>
            </p:nvSpPr>
            <p:spPr bwMode="gray">
              <a:xfrm>
                <a:off x="6449291" y="4026027"/>
                <a:ext cx="3023087" cy="246221"/>
              </a:xfrm>
              <a:prstGeom prst="rect">
                <a:avLst/>
              </a:prstGeom>
              <a:grpFill/>
            </p:spPr>
            <p:txBody>
              <a:bodyPr wrap="square" lIns="0" tIns="0" rIns="0" bIns="0" anchor="t">
                <a:spAutoFit/>
              </a:bodyPr>
              <a:lstStyle>
                <a:lvl1pPr marL="114300" indent="-114300" algn="l" defTabSz="640080" rtl="0" eaLnBrk="1" latinLnBrk="0" hangingPunct="1">
                  <a:lnSpc>
                    <a:spcPct val="100000"/>
                  </a:lnSpc>
                  <a:spcBef>
                    <a:spcPts val="300"/>
                  </a:spcBef>
                  <a:buFont typeface="Arial" pitchFamily="34" charset="0"/>
                  <a:buChar char="•"/>
                  <a:defRPr sz="9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900" kern="1200" baseline="0">
                    <a:solidFill>
                      <a:schemeClr val="tx1"/>
                    </a:solidFill>
                    <a:latin typeface="+mn-lt"/>
                    <a:ea typeface="+mn-ea"/>
                    <a:cs typeface="+mn-cs"/>
                  </a:defRPr>
                </a:lvl5pPr>
                <a:lvl6pPr marL="176022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6pPr>
                <a:lvl7pPr marL="208026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7pPr>
                <a:lvl8pPr marL="240030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8pPr>
                <a:lvl9pPr marL="272034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9pPr>
              </a:lstStyle>
              <a:p>
                <a:pPr marL="0" marR="0" lvl="0" indent="0" algn="l" defTabSz="640080" rtl="0" eaLnBrk="1" fontAlgn="auto" latinLnBrk="0" hangingPunct="1">
                  <a:lnSpc>
                    <a:spcPct val="100000"/>
                  </a:lnSpc>
                  <a:spcBef>
                    <a:spcPts val="0"/>
                  </a:spcBef>
                  <a:spcAft>
                    <a:spcPts val="0"/>
                  </a:spcAft>
                  <a:buClrTx/>
                  <a:buSzTx/>
                  <a:buFont typeface="Arial" pitchFamily="34" charset="0"/>
                  <a:buNone/>
                  <a:tabLst/>
                  <a:defRPr/>
                </a:pPr>
                <a:r>
                  <a:rPr kumimoji="0" lang="en-US" sz="1600" b="1" i="0" u="none" strike="noStrike" kern="1200" cap="none" spc="0" normalizeH="0" baseline="0" noProof="0">
                    <a:ln>
                      <a:noFill/>
                    </a:ln>
                    <a:solidFill>
                      <a:srgbClr val="002677"/>
                    </a:solidFill>
                    <a:effectLst/>
                    <a:uLnTx/>
                    <a:uFillTx/>
                    <a:latin typeface="Arial" panose="020B0604020202020204"/>
                    <a:ea typeface="+mn-ea"/>
                    <a:cs typeface="+mn-cs"/>
                    <a:hlinkClick r:id="rId4"/>
                  </a:rPr>
                  <a:t>marcus.green@optum.com</a:t>
                </a:r>
                <a:r>
                  <a:rPr kumimoji="0" lang="en-US" sz="1600" b="1" i="0" u="none" strike="noStrike" kern="1200" cap="none" spc="0" normalizeH="0" baseline="0" noProof="0">
                    <a:ln>
                      <a:noFill/>
                    </a:ln>
                    <a:solidFill>
                      <a:srgbClr val="002677"/>
                    </a:solidFill>
                    <a:effectLst/>
                    <a:uLnTx/>
                    <a:uFillTx/>
                    <a:latin typeface="Arial" panose="020B0604020202020204"/>
                    <a:ea typeface="+mn-ea"/>
                    <a:cs typeface="+mn-cs"/>
                  </a:rPr>
                  <a:t> </a:t>
                </a:r>
              </a:p>
            </p:txBody>
          </p:sp>
        </p:grpSp>
      </p:grpSp>
      <p:pic>
        <p:nvPicPr>
          <p:cNvPr id="18" name="Picture 17">
            <a:extLst>
              <a:ext uri="{FF2B5EF4-FFF2-40B4-BE49-F238E27FC236}">
                <a16:creationId xmlns:a16="http://schemas.microsoft.com/office/drawing/2014/main" id="{50173142-EACE-2A9A-07D4-0C11543E1D3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5844876" y="4289433"/>
            <a:ext cx="433302" cy="433302"/>
          </a:xfrm>
          <a:prstGeom prst="rect">
            <a:avLst/>
          </a:prstGeom>
        </p:spPr>
      </p:pic>
      <p:sp>
        <p:nvSpPr>
          <p:cNvPr id="20" name="TextBox 19">
            <a:extLst>
              <a:ext uri="{FF2B5EF4-FFF2-40B4-BE49-F238E27FC236}">
                <a16:creationId xmlns:a16="http://schemas.microsoft.com/office/drawing/2014/main" id="{4469A9A6-278C-02B0-84FB-C1D338953274}"/>
              </a:ext>
            </a:extLst>
          </p:cNvPr>
          <p:cNvSpPr txBox="1"/>
          <p:nvPr/>
        </p:nvSpPr>
        <p:spPr bwMode="gray">
          <a:xfrm>
            <a:off x="399782" y="4244474"/>
            <a:ext cx="551149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A5A5A"/>
                </a:solidFill>
                <a:effectLst/>
                <a:uLnTx/>
                <a:uFillTx/>
                <a:latin typeface="Arial" panose="020B0604020202020204"/>
                <a:ea typeface="+mn-ea"/>
                <a:cs typeface="+mn-cs"/>
              </a:rPr>
              <a:t>You can access the Evaluation Toolkit for SWL using </a:t>
            </a:r>
            <a:r>
              <a:rPr kumimoji="0" lang="en-US" sz="1400" b="1" i="0" u="none" strike="noStrike" kern="1200" cap="none" spc="0" normalizeH="0" baseline="0" noProof="0">
                <a:ln>
                  <a:noFill/>
                </a:ln>
                <a:solidFill>
                  <a:srgbClr val="5A5A5A"/>
                </a:solidFill>
                <a:effectLst/>
                <a:uLnTx/>
                <a:uFillTx/>
                <a:latin typeface="Arial" panose="020B0604020202020204"/>
                <a:ea typeface="+mn-ea"/>
                <a:cs typeface="+mn-cs"/>
                <a:hlinkClick r:id="rId6"/>
              </a:rPr>
              <a:t>this form</a:t>
            </a:r>
            <a:r>
              <a:rPr kumimoji="0" lang="en-US" sz="1400" b="1" i="0" u="none" strike="noStrike" kern="1200" cap="none" spc="0" normalizeH="0" baseline="0" noProof="0">
                <a:ln>
                  <a:noFill/>
                </a:ln>
                <a:solidFill>
                  <a:srgbClr val="5A5A5A"/>
                </a:solidFill>
                <a:effectLst/>
                <a:uLnTx/>
                <a:uFillTx/>
                <a:latin typeface="Arial" panose="020B0604020202020204"/>
                <a:ea typeface="+mn-ea"/>
                <a:cs typeface="+mn-cs"/>
              </a:rPr>
              <a:t>.</a:t>
            </a:r>
          </a:p>
        </p:txBody>
      </p:sp>
    </p:spTree>
    <p:extLst>
      <p:ext uri="{BB962C8B-B14F-4D97-AF65-F5344CB8AC3E}">
        <p14:creationId xmlns:p14="http://schemas.microsoft.com/office/powerpoint/2010/main" val="1467640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77C9B6-E415-4194-AE16-8C4F7DAF9744}"/>
              </a:ext>
            </a:extLst>
          </p:cNvPr>
          <p:cNvSpPr>
            <a:spLocks noGrp="1"/>
          </p:cNvSpPr>
          <p:nvPr>
            <p:ph type="title"/>
          </p:nvPr>
        </p:nvSpPr>
        <p:spPr/>
        <p:txBody>
          <a:bodyPr/>
          <a:lstStyle/>
          <a:p>
            <a:r>
              <a:rPr lang="en-US"/>
              <a:t>Evaluation: How have we met the objectives of today’s session?</a:t>
            </a:r>
          </a:p>
        </p:txBody>
      </p:sp>
      <p:sp>
        <p:nvSpPr>
          <p:cNvPr id="5" name="Text Placeholder 4">
            <a:extLst>
              <a:ext uri="{FF2B5EF4-FFF2-40B4-BE49-F238E27FC236}">
                <a16:creationId xmlns:a16="http://schemas.microsoft.com/office/drawing/2014/main" id="{9C033F2B-7FE8-4FF6-8B60-8AC7303AE0FF}"/>
              </a:ext>
            </a:extLst>
          </p:cNvPr>
          <p:cNvSpPr>
            <a:spLocks noGrp="1"/>
          </p:cNvSpPr>
          <p:nvPr>
            <p:ph type="body" sz="quarter" idx="11"/>
          </p:nvPr>
        </p:nvSpPr>
        <p:spPr>
          <a:xfrm>
            <a:off x="5486915" y="1877674"/>
            <a:ext cx="5024411" cy="2724930"/>
          </a:xfrm>
          <a:solidFill>
            <a:schemeClr val="bg1">
              <a:lumMod val="95000"/>
            </a:schemeClr>
          </a:solidFill>
        </p:spPr>
        <p:txBody>
          <a:bodyPr>
            <a:normAutofit fontScale="92500" lnSpcReduction="20000"/>
          </a:bodyPr>
          <a:lstStyle/>
          <a:p>
            <a:r>
              <a:rPr lang="en-GB"/>
              <a:t>Your views and feedback are important to us.</a:t>
            </a:r>
          </a:p>
          <a:p>
            <a:r>
              <a:rPr lang="en-GB"/>
              <a:t>Please provide feedback via </a:t>
            </a:r>
            <a:r>
              <a:rPr lang="en-GB" err="1"/>
              <a:t>Menti</a:t>
            </a:r>
            <a:r>
              <a:rPr lang="en-GB"/>
              <a:t> regarding your experience in this session:</a:t>
            </a:r>
          </a:p>
          <a:p>
            <a:pPr marL="285750" indent="-285750">
              <a:buFont typeface="Arial" panose="020B0604020202020204" pitchFamily="34" charset="0"/>
              <a:buChar char="•"/>
            </a:pPr>
            <a:r>
              <a:rPr lang="en-US" b="0"/>
              <a:t>Scoring the session experience and outcomes (quantitative)</a:t>
            </a:r>
          </a:p>
          <a:p>
            <a:pPr marL="285750" indent="-285750">
              <a:buFont typeface="Arial" panose="020B0604020202020204" pitchFamily="34" charset="0"/>
              <a:buChar char="•"/>
            </a:pPr>
            <a:r>
              <a:rPr lang="en-US" b="0"/>
              <a:t>Feedback on what was good, and what would make this even better (qualitative)</a:t>
            </a:r>
          </a:p>
          <a:p>
            <a:r>
              <a:rPr lang="en-GB" b="0"/>
              <a:t>Should you wish to discuss any part of your feedback, please contact: </a:t>
            </a:r>
          </a:p>
          <a:p>
            <a:r>
              <a:rPr lang="en-GB" b="0">
                <a:hlinkClick r:id="rId2"/>
              </a:rPr>
              <a:t>layla.bahramijovein@optum.com</a:t>
            </a:r>
            <a:r>
              <a:rPr lang="en-GB" b="0"/>
              <a:t> </a:t>
            </a:r>
          </a:p>
        </p:txBody>
      </p:sp>
      <p:sp>
        <p:nvSpPr>
          <p:cNvPr id="8" name="Rectangle 7">
            <a:extLst>
              <a:ext uri="{FF2B5EF4-FFF2-40B4-BE49-F238E27FC236}">
                <a16:creationId xmlns:a16="http://schemas.microsoft.com/office/drawing/2014/main" id="{A66A1332-0723-433B-A618-1231173F9273}"/>
              </a:ext>
            </a:extLst>
          </p:cNvPr>
          <p:cNvSpPr/>
          <p:nvPr/>
        </p:nvSpPr>
        <p:spPr>
          <a:xfrm>
            <a:off x="8305800" y="914400"/>
            <a:ext cx="2319252" cy="8382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FFFFFF"/>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DEECEE92-4A61-4070-9F1C-102F54A4FF1A}"/>
              </a:ext>
            </a:extLst>
          </p:cNvPr>
          <p:cNvGrpSpPr/>
          <p:nvPr/>
        </p:nvGrpSpPr>
        <p:grpSpPr>
          <a:xfrm>
            <a:off x="1673947" y="1883379"/>
            <a:ext cx="3520440" cy="2594045"/>
            <a:chOff x="1791393" y="3510843"/>
            <a:chExt cx="3520440" cy="2594045"/>
          </a:xfrm>
        </p:grpSpPr>
        <p:sp>
          <p:nvSpPr>
            <p:cNvPr id="12" name="Rectangle 11">
              <a:extLst>
                <a:ext uri="{FF2B5EF4-FFF2-40B4-BE49-F238E27FC236}">
                  <a16:creationId xmlns:a16="http://schemas.microsoft.com/office/drawing/2014/main" id="{AD99B8E7-F7C9-46EB-8B7B-7FF236ABA5CB}"/>
                </a:ext>
              </a:extLst>
            </p:cNvPr>
            <p:cNvSpPr/>
            <p:nvPr/>
          </p:nvSpPr>
          <p:spPr>
            <a:xfrm>
              <a:off x="1791393" y="3510843"/>
              <a:ext cx="3520440" cy="619872"/>
            </a:xfrm>
            <a:prstGeom prst="rect">
              <a:avLst/>
            </a:prstGeom>
            <a:solidFill>
              <a:schemeClr val="tx2"/>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srgbClr val="FFFFFF"/>
                  </a:solidFill>
                  <a:effectLst/>
                  <a:uLnTx/>
                  <a:uFillTx/>
                  <a:latin typeface="Arial"/>
                  <a:ea typeface="+mn-ea"/>
                  <a:cs typeface="+mn-cs"/>
                </a:rPr>
                <a:t>Log in to: </a:t>
              </a:r>
              <a:r>
                <a:rPr kumimoji="0" lang="en-US" sz="1900" b="1" i="0" u="none" strike="noStrike" kern="1200" cap="none" spc="0" normalizeH="0" baseline="0" noProof="0">
                  <a:ln>
                    <a:noFill/>
                  </a:ln>
                  <a:solidFill>
                    <a:srgbClr val="FFFFFF"/>
                  </a:solidFill>
                  <a:effectLst/>
                  <a:uLnTx/>
                  <a:uFillTx/>
                  <a:latin typeface="Arial"/>
                  <a:ea typeface="+mn-ea"/>
                  <a:cs typeface="+mn-cs"/>
                </a:rPr>
                <a:t>Menti.com</a:t>
              </a: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srgbClr val="FFFFFF"/>
                  </a:solidFill>
                  <a:effectLst/>
                  <a:uLnTx/>
                  <a:uFillTx/>
                  <a:latin typeface="Arial"/>
                  <a:ea typeface="+mn-ea"/>
                  <a:cs typeface="+mn-cs"/>
                </a:rPr>
                <a:t> Code: 9873 7543 </a:t>
              </a:r>
              <a:endParaRPr kumimoji="0" lang="en-US" sz="1900" b="1" i="0" u="none" strike="noStrike" kern="1200" cap="none" spc="0" normalizeH="0" baseline="0" noProof="0">
                <a:ln>
                  <a:noFill/>
                </a:ln>
                <a:solidFill>
                  <a:srgbClr val="FFFFFF"/>
                </a:solidFill>
                <a:effectLst/>
                <a:uLnTx/>
                <a:uFillTx/>
                <a:latin typeface="Arial"/>
                <a:ea typeface="+mn-ea"/>
                <a:cs typeface="+mn-cs"/>
              </a:endParaRPr>
            </a:p>
          </p:txBody>
        </p:sp>
        <p:grpSp>
          <p:nvGrpSpPr>
            <p:cNvPr id="11" name="Group 10">
              <a:extLst>
                <a:ext uri="{FF2B5EF4-FFF2-40B4-BE49-F238E27FC236}">
                  <a16:creationId xmlns:a16="http://schemas.microsoft.com/office/drawing/2014/main" id="{311A1C3A-2EDB-4AE1-AECB-283D4B72CD81}"/>
                </a:ext>
              </a:extLst>
            </p:cNvPr>
            <p:cNvGrpSpPr/>
            <p:nvPr/>
          </p:nvGrpSpPr>
          <p:grpSpPr>
            <a:xfrm>
              <a:off x="2929479" y="4304214"/>
              <a:ext cx="1521145" cy="1800674"/>
              <a:chOff x="1341193" y="2834219"/>
              <a:chExt cx="2162862" cy="2560320"/>
            </a:xfrm>
          </p:grpSpPr>
          <p:sp>
            <p:nvSpPr>
              <p:cNvPr id="13" name="Freeform 65">
                <a:extLst>
                  <a:ext uri="{FF2B5EF4-FFF2-40B4-BE49-F238E27FC236}">
                    <a16:creationId xmlns:a16="http://schemas.microsoft.com/office/drawing/2014/main" id="{9543BCE1-B093-4A27-9431-330DEE38CC42}"/>
                  </a:ext>
                </a:extLst>
              </p:cNvPr>
              <p:cNvSpPr>
                <a:spLocks noEditPoints="1"/>
              </p:cNvSpPr>
              <p:nvPr/>
            </p:nvSpPr>
            <p:spPr bwMode="gray">
              <a:xfrm>
                <a:off x="1849558" y="4843038"/>
                <a:ext cx="415935" cy="415936"/>
              </a:xfrm>
              <a:custGeom>
                <a:avLst/>
                <a:gdLst>
                  <a:gd name="T0" fmla="*/ 93 w 187"/>
                  <a:gd name="T1" fmla="*/ 187 h 187"/>
                  <a:gd name="T2" fmla="*/ 0 w 187"/>
                  <a:gd name="T3" fmla="*/ 93 h 187"/>
                  <a:gd name="T4" fmla="*/ 93 w 187"/>
                  <a:gd name="T5" fmla="*/ 0 h 187"/>
                  <a:gd name="T6" fmla="*/ 187 w 187"/>
                  <a:gd name="T7" fmla="*/ 93 h 187"/>
                  <a:gd name="T8" fmla="*/ 93 w 187"/>
                  <a:gd name="T9" fmla="*/ 187 h 187"/>
                  <a:gd name="T10" fmla="*/ 93 w 187"/>
                  <a:gd name="T11" fmla="*/ 36 h 187"/>
                  <a:gd name="T12" fmla="*/ 36 w 187"/>
                  <a:gd name="T13" fmla="*/ 93 h 187"/>
                  <a:gd name="T14" fmla="*/ 93 w 187"/>
                  <a:gd name="T15" fmla="*/ 151 h 187"/>
                  <a:gd name="T16" fmla="*/ 151 w 187"/>
                  <a:gd name="T17" fmla="*/ 93 h 187"/>
                  <a:gd name="T18" fmla="*/ 93 w 187"/>
                  <a:gd name="T19" fmla="*/ 3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187">
                    <a:moveTo>
                      <a:pt x="93" y="187"/>
                    </a:moveTo>
                    <a:cubicBezTo>
                      <a:pt x="41" y="187"/>
                      <a:pt x="0" y="145"/>
                      <a:pt x="0" y="93"/>
                    </a:cubicBezTo>
                    <a:cubicBezTo>
                      <a:pt x="0" y="41"/>
                      <a:pt x="41" y="0"/>
                      <a:pt x="93" y="0"/>
                    </a:cubicBezTo>
                    <a:cubicBezTo>
                      <a:pt x="145" y="0"/>
                      <a:pt x="187" y="41"/>
                      <a:pt x="187" y="93"/>
                    </a:cubicBezTo>
                    <a:cubicBezTo>
                      <a:pt x="187" y="145"/>
                      <a:pt x="145" y="187"/>
                      <a:pt x="93" y="187"/>
                    </a:cubicBezTo>
                    <a:close/>
                    <a:moveTo>
                      <a:pt x="93" y="36"/>
                    </a:moveTo>
                    <a:cubicBezTo>
                      <a:pt x="61" y="36"/>
                      <a:pt x="36" y="61"/>
                      <a:pt x="36" y="93"/>
                    </a:cubicBezTo>
                    <a:cubicBezTo>
                      <a:pt x="36" y="126"/>
                      <a:pt x="61" y="151"/>
                      <a:pt x="93" y="151"/>
                    </a:cubicBezTo>
                    <a:cubicBezTo>
                      <a:pt x="126" y="151"/>
                      <a:pt x="151" y="126"/>
                      <a:pt x="151" y="93"/>
                    </a:cubicBezTo>
                    <a:cubicBezTo>
                      <a:pt x="151" y="63"/>
                      <a:pt x="126" y="36"/>
                      <a:pt x="93" y="3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66">
                <a:extLst>
                  <a:ext uri="{FF2B5EF4-FFF2-40B4-BE49-F238E27FC236}">
                    <a16:creationId xmlns:a16="http://schemas.microsoft.com/office/drawing/2014/main" id="{FF03CE6F-0849-4B63-B1FA-276509D3EA04}"/>
                  </a:ext>
                </a:extLst>
              </p:cNvPr>
              <p:cNvSpPr>
                <a:spLocks/>
              </p:cNvSpPr>
              <p:nvPr/>
            </p:nvSpPr>
            <p:spPr bwMode="gray">
              <a:xfrm>
                <a:off x="1341193" y="2834219"/>
                <a:ext cx="1435746" cy="2560320"/>
              </a:xfrm>
              <a:custGeom>
                <a:avLst/>
                <a:gdLst>
                  <a:gd name="T0" fmla="*/ 646 w 646"/>
                  <a:gd name="T1" fmla="*/ 610 h 1152"/>
                  <a:gd name="T2" fmla="*/ 646 w 646"/>
                  <a:gd name="T3" fmla="*/ 1060 h 1152"/>
                  <a:gd name="T4" fmla="*/ 554 w 646"/>
                  <a:gd name="T5" fmla="*/ 1152 h 1152"/>
                  <a:gd name="T6" fmla="*/ 92 w 646"/>
                  <a:gd name="T7" fmla="*/ 1152 h 1152"/>
                  <a:gd name="T8" fmla="*/ 0 w 646"/>
                  <a:gd name="T9" fmla="*/ 1060 h 1152"/>
                  <a:gd name="T10" fmla="*/ 0 w 646"/>
                  <a:gd name="T11" fmla="*/ 92 h 1152"/>
                  <a:gd name="T12" fmla="*/ 92 w 646"/>
                  <a:gd name="T13" fmla="*/ 0 h 1152"/>
                  <a:gd name="T14" fmla="*/ 553 w 646"/>
                  <a:gd name="T15" fmla="*/ 0 h 1152"/>
                  <a:gd name="T16" fmla="*/ 644 w 646"/>
                  <a:gd name="T17" fmla="*/ 92 h 1152"/>
                  <a:gd name="T18" fmla="*/ 644 w 646"/>
                  <a:gd name="T19" fmla="*/ 151 h 1152"/>
                  <a:gd name="T20" fmla="*/ 608 w 646"/>
                  <a:gd name="T21" fmla="*/ 149 h 1152"/>
                  <a:gd name="T22" fmla="*/ 608 w 646"/>
                  <a:gd name="T23" fmla="*/ 92 h 1152"/>
                  <a:gd name="T24" fmla="*/ 553 w 646"/>
                  <a:gd name="T25" fmla="*/ 36 h 1152"/>
                  <a:gd name="T26" fmla="*/ 92 w 646"/>
                  <a:gd name="T27" fmla="*/ 36 h 1152"/>
                  <a:gd name="T28" fmla="*/ 36 w 646"/>
                  <a:gd name="T29" fmla="*/ 92 h 1152"/>
                  <a:gd name="T30" fmla="*/ 36 w 646"/>
                  <a:gd name="T31" fmla="*/ 1060 h 1152"/>
                  <a:gd name="T32" fmla="*/ 92 w 646"/>
                  <a:gd name="T33" fmla="*/ 1116 h 1152"/>
                  <a:gd name="T34" fmla="*/ 553 w 646"/>
                  <a:gd name="T35" fmla="*/ 1116 h 1152"/>
                  <a:gd name="T36" fmla="*/ 608 w 646"/>
                  <a:gd name="T37" fmla="*/ 1060 h 1152"/>
                  <a:gd name="T38" fmla="*/ 608 w 646"/>
                  <a:gd name="T39" fmla="*/ 612 h 1152"/>
                  <a:gd name="T40" fmla="*/ 646 w 646"/>
                  <a:gd name="T41" fmla="*/ 61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6" h="1152">
                    <a:moveTo>
                      <a:pt x="646" y="610"/>
                    </a:moveTo>
                    <a:cubicBezTo>
                      <a:pt x="646" y="1060"/>
                      <a:pt x="646" y="1060"/>
                      <a:pt x="646" y="1060"/>
                    </a:cubicBezTo>
                    <a:cubicBezTo>
                      <a:pt x="646" y="1111"/>
                      <a:pt x="605" y="1152"/>
                      <a:pt x="554" y="1152"/>
                    </a:cubicBezTo>
                    <a:cubicBezTo>
                      <a:pt x="92" y="1152"/>
                      <a:pt x="92" y="1152"/>
                      <a:pt x="92" y="1152"/>
                    </a:cubicBezTo>
                    <a:cubicBezTo>
                      <a:pt x="41" y="1152"/>
                      <a:pt x="0" y="1111"/>
                      <a:pt x="0" y="1060"/>
                    </a:cubicBezTo>
                    <a:cubicBezTo>
                      <a:pt x="0" y="92"/>
                      <a:pt x="0" y="92"/>
                      <a:pt x="0" y="92"/>
                    </a:cubicBezTo>
                    <a:cubicBezTo>
                      <a:pt x="0" y="41"/>
                      <a:pt x="41" y="0"/>
                      <a:pt x="92" y="0"/>
                    </a:cubicBezTo>
                    <a:cubicBezTo>
                      <a:pt x="553" y="0"/>
                      <a:pt x="553" y="0"/>
                      <a:pt x="553" y="0"/>
                    </a:cubicBezTo>
                    <a:cubicBezTo>
                      <a:pt x="603" y="0"/>
                      <a:pt x="644" y="41"/>
                      <a:pt x="644" y="92"/>
                    </a:cubicBezTo>
                    <a:cubicBezTo>
                      <a:pt x="644" y="151"/>
                      <a:pt x="644" y="151"/>
                      <a:pt x="644" y="151"/>
                    </a:cubicBezTo>
                    <a:cubicBezTo>
                      <a:pt x="608" y="149"/>
                      <a:pt x="608" y="149"/>
                      <a:pt x="608" y="149"/>
                    </a:cubicBezTo>
                    <a:cubicBezTo>
                      <a:pt x="608" y="92"/>
                      <a:pt x="608" y="92"/>
                      <a:pt x="608" y="92"/>
                    </a:cubicBezTo>
                    <a:cubicBezTo>
                      <a:pt x="608" y="61"/>
                      <a:pt x="583" y="36"/>
                      <a:pt x="553" y="36"/>
                    </a:cubicBezTo>
                    <a:cubicBezTo>
                      <a:pt x="92" y="36"/>
                      <a:pt x="92" y="36"/>
                      <a:pt x="92" y="36"/>
                    </a:cubicBezTo>
                    <a:cubicBezTo>
                      <a:pt x="61" y="36"/>
                      <a:pt x="36" y="61"/>
                      <a:pt x="36" y="92"/>
                    </a:cubicBezTo>
                    <a:cubicBezTo>
                      <a:pt x="36" y="1060"/>
                      <a:pt x="36" y="1060"/>
                      <a:pt x="36" y="1060"/>
                    </a:cubicBezTo>
                    <a:cubicBezTo>
                      <a:pt x="36" y="1091"/>
                      <a:pt x="61" y="1116"/>
                      <a:pt x="92" y="1116"/>
                    </a:cubicBezTo>
                    <a:cubicBezTo>
                      <a:pt x="553" y="1116"/>
                      <a:pt x="553" y="1116"/>
                      <a:pt x="553" y="1116"/>
                    </a:cubicBezTo>
                    <a:cubicBezTo>
                      <a:pt x="583" y="1116"/>
                      <a:pt x="608" y="1091"/>
                      <a:pt x="608" y="1060"/>
                    </a:cubicBezTo>
                    <a:cubicBezTo>
                      <a:pt x="608" y="612"/>
                      <a:pt x="608" y="612"/>
                      <a:pt x="608" y="612"/>
                    </a:cubicBezTo>
                    <a:lnTo>
                      <a:pt x="646" y="61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Rectangle 67">
                <a:extLst>
                  <a:ext uri="{FF2B5EF4-FFF2-40B4-BE49-F238E27FC236}">
                    <a16:creationId xmlns:a16="http://schemas.microsoft.com/office/drawing/2014/main" id="{5D8EC7D4-7BA2-45C7-8B83-96AE2D494833}"/>
                  </a:ext>
                </a:extLst>
              </p:cNvPr>
              <p:cNvSpPr>
                <a:spLocks noChangeArrowheads="1"/>
              </p:cNvSpPr>
              <p:nvPr/>
            </p:nvSpPr>
            <p:spPr bwMode="gray">
              <a:xfrm>
                <a:off x="1381246" y="3133077"/>
                <a:ext cx="1334073" cy="8010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Rectangle 68">
                <a:extLst>
                  <a:ext uri="{FF2B5EF4-FFF2-40B4-BE49-F238E27FC236}">
                    <a16:creationId xmlns:a16="http://schemas.microsoft.com/office/drawing/2014/main" id="{46CECF72-20BE-4FAF-B7D6-E66C09F268AF}"/>
                  </a:ext>
                </a:extLst>
              </p:cNvPr>
              <p:cNvSpPr>
                <a:spLocks noChangeArrowheads="1"/>
              </p:cNvSpPr>
              <p:nvPr/>
            </p:nvSpPr>
            <p:spPr bwMode="gray">
              <a:xfrm>
                <a:off x="1405894" y="4704393"/>
                <a:ext cx="1330992" cy="8010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69">
                <a:extLst>
                  <a:ext uri="{FF2B5EF4-FFF2-40B4-BE49-F238E27FC236}">
                    <a16:creationId xmlns:a16="http://schemas.microsoft.com/office/drawing/2014/main" id="{39DB7FFB-A802-4831-886E-976F1FAF1049}"/>
                  </a:ext>
                </a:extLst>
              </p:cNvPr>
              <p:cNvSpPr>
                <a:spLocks noEditPoints="1"/>
              </p:cNvSpPr>
              <p:nvPr/>
            </p:nvSpPr>
            <p:spPr bwMode="gray">
              <a:xfrm>
                <a:off x="2025175" y="3139239"/>
                <a:ext cx="1478880" cy="1398779"/>
              </a:xfrm>
              <a:custGeom>
                <a:avLst/>
                <a:gdLst>
                  <a:gd name="T0" fmla="*/ 135 w 666"/>
                  <a:gd name="T1" fmla="*/ 630 h 630"/>
                  <a:gd name="T2" fmla="*/ 135 w 666"/>
                  <a:gd name="T3" fmla="*/ 489 h 630"/>
                  <a:gd name="T4" fmla="*/ 93 w 666"/>
                  <a:gd name="T5" fmla="*/ 491 h 630"/>
                  <a:gd name="T6" fmla="*/ 0 w 666"/>
                  <a:gd name="T7" fmla="*/ 398 h 630"/>
                  <a:gd name="T8" fmla="*/ 0 w 666"/>
                  <a:gd name="T9" fmla="*/ 93 h 630"/>
                  <a:gd name="T10" fmla="*/ 93 w 666"/>
                  <a:gd name="T11" fmla="*/ 0 h 630"/>
                  <a:gd name="T12" fmla="*/ 572 w 666"/>
                  <a:gd name="T13" fmla="*/ 0 h 630"/>
                  <a:gd name="T14" fmla="*/ 666 w 666"/>
                  <a:gd name="T15" fmla="*/ 93 h 630"/>
                  <a:gd name="T16" fmla="*/ 666 w 666"/>
                  <a:gd name="T17" fmla="*/ 398 h 630"/>
                  <a:gd name="T18" fmla="*/ 572 w 666"/>
                  <a:gd name="T19" fmla="*/ 491 h 630"/>
                  <a:gd name="T20" fmla="*/ 297 w 666"/>
                  <a:gd name="T21" fmla="*/ 491 h 630"/>
                  <a:gd name="T22" fmla="*/ 135 w 666"/>
                  <a:gd name="T23" fmla="*/ 630 h 630"/>
                  <a:gd name="T24" fmla="*/ 93 w 666"/>
                  <a:gd name="T25" fmla="*/ 36 h 630"/>
                  <a:gd name="T26" fmla="*/ 36 w 666"/>
                  <a:gd name="T27" fmla="*/ 93 h 630"/>
                  <a:gd name="T28" fmla="*/ 36 w 666"/>
                  <a:gd name="T29" fmla="*/ 398 h 630"/>
                  <a:gd name="T30" fmla="*/ 93 w 666"/>
                  <a:gd name="T31" fmla="*/ 455 h 630"/>
                  <a:gd name="T32" fmla="*/ 137 w 666"/>
                  <a:gd name="T33" fmla="*/ 455 h 630"/>
                  <a:gd name="T34" fmla="*/ 171 w 666"/>
                  <a:gd name="T35" fmla="*/ 489 h 630"/>
                  <a:gd name="T36" fmla="*/ 171 w 666"/>
                  <a:gd name="T37" fmla="*/ 552 h 630"/>
                  <a:gd name="T38" fmla="*/ 275 w 666"/>
                  <a:gd name="T39" fmla="*/ 464 h 630"/>
                  <a:gd name="T40" fmla="*/ 297 w 666"/>
                  <a:gd name="T41" fmla="*/ 457 h 630"/>
                  <a:gd name="T42" fmla="*/ 572 w 666"/>
                  <a:gd name="T43" fmla="*/ 457 h 630"/>
                  <a:gd name="T44" fmla="*/ 630 w 666"/>
                  <a:gd name="T45" fmla="*/ 399 h 630"/>
                  <a:gd name="T46" fmla="*/ 630 w 666"/>
                  <a:gd name="T47" fmla="*/ 93 h 630"/>
                  <a:gd name="T48" fmla="*/ 572 w 666"/>
                  <a:gd name="T49" fmla="*/ 36 h 630"/>
                  <a:gd name="T50" fmla="*/ 93 w 666"/>
                  <a:gd name="T51" fmla="*/ 3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6" h="630">
                    <a:moveTo>
                      <a:pt x="135" y="630"/>
                    </a:moveTo>
                    <a:cubicBezTo>
                      <a:pt x="135" y="489"/>
                      <a:pt x="135" y="489"/>
                      <a:pt x="135" y="489"/>
                    </a:cubicBezTo>
                    <a:cubicBezTo>
                      <a:pt x="93" y="491"/>
                      <a:pt x="93" y="491"/>
                      <a:pt x="93" y="491"/>
                    </a:cubicBezTo>
                    <a:cubicBezTo>
                      <a:pt x="41" y="491"/>
                      <a:pt x="0" y="450"/>
                      <a:pt x="0" y="398"/>
                    </a:cubicBezTo>
                    <a:cubicBezTo>
                      <a:pt x="0" y="93"/>
                      <a:pt x="0" y="93"/>
                      <a:pt x="0" y="93"/>
                    </a:cubicBezTo>
                    <a:cubicBezTo>
                      <a:pt x="0" y="41"/>
                      <a:pt x="41" y="0"/>
                      <a:pt x="93" y="0"/>
                    </a:cubicBezTo>
                    <a:cubicBezTo>
                      <a:pt x="572" y="0"/>
                      <a:pt x="572" y="0"/>
                      <a:pt x="572" y="0"/>
                    </a:cubicBezTo>
                    <a:cubicBezTo>
                      <a:pt x="624" y="0"/>
                      <a:pt x="666" y="41"/>
                      <a:pt x="666" y="93"/>
                    </a:cubicBezTo>
                    <a:cubicBezTo>
                      <a:pt x="666" y="398"/>
                      <a:pt x="666" y="398"/>
                      <a:pt x="666" y="398"/>
                    </a:cubicBezTo>
                    <a:cubicBezTo>
                      <a:pt x="666" y="450"/>
                      <a:pt x="624" y="491"/>
                      <a:pt x="572" y="491"/>
                    </a:cubicBezTo>
                    <a:cubicBezTo>
                      <a:pt x="297" y="491"/>
                      <a:pt x="297" y="491"/>
                      <a:pt x="297" y="491"/>
                    </a:cubicBezTo>
                    <a:lnTo>
                      <a:pt x="135" y="630"/>
                    </a:lnTo>
                    <a:close/>
                    <a:moveTo>
                      <a:pt x="93" y="36"/>
                    </a:moveTo>
                    <a:cubicBezTo>
                      <a:pt x="63" y="36"/>
                      <a:pt x="36" y="61"/>
                      <a:pt x="36" y="93"/>
                    </a:cubicBezTo>
                    <a:cubicBezTo>
                      <a:pt x="36" y="398"/>
                      <a:pt x="36" y="398"/>
                      <a:pt x="36" y="398"/>
                    </a:cubicBezTo>
                    <a:cubicBezTo>
                      <a:pt x="36" y="430"/>
                      <a:pt x="61" y="455"/>
                      <a:pt x="93" y="455"/>
                    </a:cubicBezTo>
                    <a:cubicBezTo>
                      <a:pt x="137" y="455"/>
                      <a:pt x="137" y="455"/>
                      <a:pt x="137" y="455"/>
                    </a:cubicBezTo>
                    <a:cubicBezTo>
                      <a:pt x="155" y="455"/>
                      <a:pt x="171" y="470"/>
                      <a:pt x="171" y="489"/>
                    </a:cubicBezTo>
                    <a:cubicBezTo>
                      <a:pt x="171" y="552"/>
                      <a:pt x="171" y="552"/>
                      <a:pt x="171" y="552"/>
                    </a:cubicBezTo>
                    <a:cubicBezTo>
                      <a:pt x="275" y="464"/>
                      <a:pt x="275" y="464"/>
                      <a:pt x="275" y="464"/>
                    </a:cubicBezTo>
                    <a:cubicBezTo>
                      <a:pt x="281" y="459"/>
                      <a:pt x="290" y="457"/>
                      <a:pt x="297" y="457"/>
                    </a:cubicBezTo>
                    <a:cubicBezTo>
                      <a:pt x="572" y="457"/>
                      <a:pt x="572" y="457"/>
                      <a:pt x="572" y="457"/>
                    </a:cubicBezTo>
                    <a:cubicBezTo>
                      <a:pt x="603" y="457"/>
                      <a:pt x="630" y="432"/>
                      <a:pt x="630" y="399"/>
                    </a:cubicBezTo>
                    <a:cubicBezTo>
                      <a:pt x="630" y="93"/>
                      <a:pt x="630" y="93"/>
                      <a:pt x="630" y="93"/>
                    </a:cubicBezTo>
                    <a:cubicBezTo>
                      <a:pt x="630" y="61"/>
                      <a:pt x="605" y="36"/>
                      <a:pt x="572" y="36"/>
                    </a:cubicBezTo>
                    <a:lnTo>
                      <a:pt x="93" y="3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70">
                <a:extLst>
                  <a:ext uri="{FF2B5EF4-FFF2-40B4-BE49-F238E27FC236}">
                    <a16:creationId xmlns:a16="http://schemas.microsoft.com/office/drawing/2014/main" id="{2EA7260C-F3E1-4C32-9DCE-41FE2FC441E1}"/>
                  </a:ext>
                </a:extLst>
              </p:cNvPr>
              <p:cNvSpPr>
                <a:spLocks/>
              </p:cNvSpPr>
              <p:nvPr/>
            </p:nvSpPr>
            <p:spPr bwMode="gray">
              <a:xfrm>
                <a:off x="3001852" y="3635282"/>
                <a:ext cx="126321" cy="123240"/>
              </a:xfrm>
              <a:custGeom>
                <a:avLst/>
                <a:gdLst>
                  <a:gd name="T0" fmla="*/ 2 w 58"/>
                  <a:gd name="T1" fmla="*/ 29 h 56"/>
                  <a:gd name="T2" fmla="*/ 31 w 58"/>
                  <a:gd name="T3" fmla="*/ 56 h 56"/>
                  <a:gd name="T4" fmla="*/ 58 w 58"/>
                  <a:gd name="T5" fmla="*/ 27 h 56"/>
                  <a:gd name="T6" fmla="*/ 29 w 58"/>
                  <a:gd name="T7" fmla="*/ 0 h 56"/>
                  <a:gd name="T8" fmla="*/ 2 w 58"/>
                  <a:gd name="T9" fmla="*/ 29 h 56"/>
                </a:gdLst>
                <a:ahLst/>
                <a:cxnLst>
                  <a:cxn ang="0">
                    <a:pos x="T0" y="T1"/>
                  </a:cxn>
                  <a:cxn ang="0">
                    <a:pos x="T2" y="T3"/>
                  </a:cxn>
                  <a:cxn ang="0">
                    <a:pos x="T4" y="T5"/>
                  </a:cxn>
                  <a:cxn ang="0">
                    <a:pos x="T6" y="T7"/>
                  </a:cxn>
                  <a:cxn ang="0">
                    <a:pos x="T8" y="T9"/>
                  </a:cxn>
                </a:cxnLst>
                <a:rect l="0" t="0" r="r" b="b"/>
                <a:pathLst>
                  <a:path w="58" h="56">
                    <a:moveTo>
                      <a:pt x="2" y="29"/>
                    </a:moveTo>
                    <a:cubicBezTo>
                      <a:pt x="2" y="43"/>
                      <a:pt x="14" y="56"/>
                      <a:pt x="31" y="56"/>
                    </a:cubicBezTo>
                    <a:cubicBezTo>
                      <a:pt x="45" y="56"/>
                      <a:pt x="58" y="43"/>
                      <a:pt x="58" y="27"/>
                    </a:cubicBezTo>
                    <a:cubicBezTo>
                      <a:pt x="58" y="13"/>
                      <a:pt x="45" y="0"/>
                      <a:pt x="29" y="0"/>
                    </a:cubicBezTo>
                    <a:cubicBezTo>
                      <a:pt x="13" y="0"/>
                      <a:pt x="0" y="13"/>
                      <a:pt x="2"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71">
                <a:extLst>
                  <a:ext uri="{FF2B5EF4-FFF2-40B4-BE49-F238E27FC236}">
                    <a16:creationId xmlns:a16="http://schemas.microsoft.com/office/drawing/2014/main" id="{432D239C-52F4-47B6-BD0A-7D4FD810409D}"/>
                  </a:ext>
                </a:extLst>
              </p:cNvPr>
              <p:cNvSpPr>
                <a:spLocks/>
              </p:cNvSpPr>
              <p:nvPr/>
            </p:nvSpPr>
            <p:spPr bwMode="gray">
              <a:xfrm>
                <a:off x="2730724" y="3635282"/>
                <a:ext cx="120159" cy="123240"/>
              </a:xfrm>
              <a:custGeom>
                <a:avLst/>
                <a:gdLst>
                  <a:gd name="T0" fmla="*/ 0 w 55"/>
                  <a:gd name="T1" fmla="*/ 29 h 56"/>
                  <a:gd name="T2" fmla="*/ 28 w 55"/>
                  <a:gd name="T3" fmla="*/ 56 h 56"/>
                  <a:gd name="T4" fmla="*/ 55 w 55"/>
                  <a:gd name="T5" fmla="*/ 27 h 56"/>
                  <a:gd name="T6" fmla="*/ 27 w 55"/>
                  <a:gd name="T7" fmla="*/ 0 h 56"/>
                  <a:gd name="T8" fmla="*/ 0 w 55"/>
                  <a:gd name="T9" fmla="*/ 29 h 56"/>
                </a:gdLst>
                <a:ahLst/>
                <a:cxnLst>
                  <a:cxn ang="0">
                    <a:pos x="T0" y="T1"/>
                  </a:cxn>
                  <a:cxn ang="0">
                    <a:pos x="T2" y="T3"/>
                  </a:cxn>
                  <a:cxn ang="0">
                    <a:pos x="T4" y="T5"/>
                  </a:cxn>
                  <a:cxn ang="0">
                    <a:pos x="T6" y="T7"/>
                  </a:cxn>
                  <a:cxn ang="0">
                    <a:pos x="T8" y="T9"/>
                  </a:cxn>
                </a:cxnLst>
                <a:rect l="0" t="0" r="r" b="b"/>
                <a:pathLst>
                  <a:path w="55" h="56">
                    <a:moveTo>
                      <a:pt x="0" y="29"/>
                    </a:moveTo>
                    <a:cubicBezTo>
                      <a:pt x="0" y="43"/>
                      <a:pt x="12" y="56"/>
                      <a:pt x="28" y="56"/>
                    </a:cubicBezTo>
                    <a:cubicBezTo>
                      <a:pt x="43" y="56"/>
                      <a:pt x="55" y="43"/>
                      <a:pt x="55" y="27"/>
                    </a:cubicBezTo>
                    <a:cubicBezTo>
                      <a:pt x="55" y="13"/>
                      <a:pt x="43" y="0"/>
                      <a:pt x="27" y="0"/>
                    </a:cubicBezTo>
                    <a:cubicBezTo>
                      <a:pt x="12" y="0"/>
                      <a:pt x="0" y="13"/>
                      <a:pt x="0"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72">
                <a:extLst>
                  <a:ext uri="{FF2B5EF4-FFF2-40B4-BE49-F238E27FC236}">
                    <a16:creationId xmlns:a16="http://schemas.microsoft.com/office/drawing/2014/main" id="{87EEB1B6-FE9F-45E0-A46C-E52DBC5CAB71}"/>
                  </a:ext>
                </a:extLst>
              </p:cNvPr>
              <p:cNvSpPr>
                <a:spLocks/>
              </p:cNvSpPr>
              <p:nvPr/>
            </p:nvSpPr>
            <p:spPr bwMode="gray">
              <a:xfrm>
                <a:off x="2441110" y="3635282"/>
                <a:ext cx="123240" cy="123240"/>
              </a:xfrm>
              <a:custGeom>
                <a:avLst/>
                <a:gdLst>
                  <a:gd name="T0" fmla="*/ 0 w 56"/>
                  <a:gd name="T1" fmla="*/ 29 h 56"/>
                  <a:gd name="T2" fmla="*/ 29 w 56"/>
                  <a:gd name="T3" fmla="*/ 56 h 56"/>
                  <a:gd name="T4" fmla="*/ 56 w 56"/>
                  <a:gd name="T5" fmla="*/ 27 h 56"/>
                  <a:gd name="T6" fmla="*/ 27 w 56"/>
                  <a:gd name="T7" fmla="*/ 0 h 56"/>
                  <a:gd name="T8" fmla="*/ 0 w 56"/>
                  <a:gd name="T9" fmla="*/ 29 h 56"/>
                </a:gdLst>
                <a:ahLst/>
                <a:cxnLst>
                  <a:cxn ang="0">
                    <a:pos x="T0" y="T1"/>
                  </a:cxn>
                  <a:cxn ang="0">
                    <a:pos x="T2" y="T3"/>
                  </a:cxn>
                  <a:cxn ang="0">
                    <a:pos x="T4" y="T5"/>
                  </a:cxn>
                  <a:cxn ang="0">
                    <a:pos x="T6" y="T7"/>
                  </a:cxn>
                  <a:cxn ang="0">
                    <a:pos x="T8" y="T9"/>
                  </a:cxn>
                </a:cxnLst>
                <a:rect l="0" t="0" r="r" b="b"/>
                <a:pathLst>
                  <a:path w="56" h="56">
                    <a:moveTo>
                      <a:pt x="0" y="29"/>
                    </a:moveTo>
                    <a:cubicBezTo>
                      <a:pt x="0" y="43"/>
                      <a:pt x="13" y="56"/>
                      <a:pt x="29" y="56"/>
                    </a:cubicBezTo>
                    <a:cubicBezTo>
                      <a:pt x="43" y="56"/>
                      <a:pt x="56" y="43"/>
                      <a:pt x="56" y="27"/>
                    </a:cubicBezTo>
                    <a:cubicBezTo>
                      <a:pt x="56" y="13"/>
                      <a:pt x="43" y="0"/>
                      <a:pt x="27" y="0"/>
                    </a:cubicBezTo>
                    <a:cubicBezTo>
                      <a:pt x="13" y="0"/>
                      <a:pt x="0" y="13"/>
                      <a:pt x="0"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spTree>
    <p:extLst>
      <p:ext uri="{BB962C8B-B14F-4D97-AF65-F5344CB8AC3E}">
        <p14:creationId xmlns:p14="http://schemas.microsoft.com/office/powerpoint/2010/main" val="19967535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4AAE0B-E413-47E2-AA18-A9B413478384}"/>
              </a:ext>
            </a:extLst>
          </p:cNvPr>
          <p:cNvSpPr>
            <a:spLocks noGrp="1"/>
          </p:cNvSpPr>
          <p:nvPr>
            <p:ph type="title"/>
          </p:nvPr>
        </p:nvSpPr>
        <p:spPr/>
        <p:txBody>
          <a:bodyPr/>
          <a:lstStyle/>
          <a:p>
            <a:r>
              <a:rPr lang="en-US"/>
              <a:t>Our Evaluation Journey: What’s next</a:t>
            </a:r>
          </a:p>
        </p:txBody>
      </p:sp>
      <p:sp>
        <p:nvSpPr>
          <p:cNvPr id="3" name="Slide Number Placeholder 2">
            <a:extLst>
              <a:ext uri="{FF2B5EF4-FFF2-40B4-BE49-F238E27FC236}">
                <a16:creationId xmlns:a16="http://schemas.microsoft.com/office/drawing/2014/main" id="{5D868B2A-0D88-486B-B81B-2C76E3C50FEC}"/>
              </a:ext>
            </a:extLst>
          </p:cNvPr>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1E112CC-F5C7-5E43-8EAA-F554FEB5E453}" type="slidenum">
              <a:rPr kumimoji="0" lang="en-US" sz="200" b="0" i="0" u="none" strike="noStrike" kern="1200" cap="none" spc="0" normalizeH="0" baseline="0" noProof="0" smtClean="0">
                <a:ln>
                  <a:noFill/>
                </a:ln>
                <a:solidFill>
                  <a:srgbClr val="005EB8"/>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4</a:t>
            </a:fld>
            <a:endParaRPr kumimoji="0" lang="en-US" sz="200" b="0" i="0" u="none" strike="noStrike" kern="1200" cap="none" spc="0" normalizeH="0" baseline="0" noProof="0">
              <a:ln>
                <a:noFill/>
              </a:ln>
              <a:solidFill>
                <a:srgbClr val="005EB8"/>
              </a:solidFill>
              <a:effectLst/>
              <a:uLnTx/>
              <a:uFillTx/>
              <a:latin typeface="Arial" panose="020B0604020202020204"/>
              <a:ea typeface="+mn-ea"/>
              <a:cs typeface="+mn-cs"/>
            </a:endParaRPr>
          </a:p>
        </p:txBody>
      </p:sp>
      <p:grpSp>
        <p:nvGrpSpPr>
          <p:cNvPr id="9" name="Group 8">
            <a:extLst>
              <a:ext uri="{FF2B5EF4-FFF2-40B4-BE49-F238E27FC236}">
                <a16:creationId xmlns:a16="http://schemas.microsoft.com/office/drawing/2014/main" id="{78F66D6A-6979-619A-6347-FDB189FCB9E7}"/>
              </a:ext>
            </a:extLst>
          </p:cNvPr>
          <p:cNvGrpSpPr/>
          <p:nvPr/>
        </p:nvGrpSpPr>
        <p:grpSpPr>
          <a:xfrm>
            <a:off x="2945641" y="1092437"/>
            <a:ext cx="6300717" cy="1382553"/>
            <a:chOff x="6727174" y="2826593"/>
            <a:chExt cx="5784494" cy="1076773"/>
          </a:xfrm>
        </p:grpSpPr>
        <p:sp>
          <p:nvSpPr>
            <p:cNvPr id="7" name="Text Placeholder 6">
              <a:extLst>
                <a:ext uri="{FF2B5EF4-FFF2-40B4-BE49-F238E27FC236}">
                  <a16:creationId xmlns:a16="http://schemas.microsoft.com/office/drawing/2014/main" id="{29FB7403-FB2D-19AA-69B2-7F6FF9548B27}"/>
                </a:ext>
              </a:extLst>
            </p:cNvPr>
            <p:cNvSpPr txBox="1">
              <a:spLocks/>
            </p:cNvSpPr>
            <p:nvPr/>
          </p:nvSpPr>
          <p:spPr bwMode="gray">
            <a:xfrm>
              <a:off x="6727174" y="2846367"/>
              <a:ext cx="2726154" cy="1056999"/>
            </a:xfrm>
            <a:prstGeom prst="ellipse">
              <a:avLst/>
            </a:prstGeom>
            <a:solidFill>
              <a:schemeClr val="bg2"/>
            </a:solidFill>
          </p:spPr>
          <p:txBody>
            <a:bodyPr vert="horz" lIns="137160" tIns="0" rIns="0" bIns="0" rtlCol="0" anchor="ctr">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Workshop 6: </a:t>
              </a:r>
              <a:r>
                <a:rPr kumimoji="0" lang="en-US"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Bias </a:t>
              </a:r>
            </a:p>
            <a:p>
              <a:pPr marL="0" marR="0" lvl="0" indent="0" algn="ctr" defTabSz="1038995" rtl="0" eaLnBrk="1" fontAlgn="auto" latinLnBrk="0" hangingPunct="1">
                <a:lnSpc>
                  <a:spcPct val="100000"/>
                </a:lnSpc>
                <a:spcBef>
                  <a:spcPts val="0"/>
                </a:spcBef>
                <a:spcAft>
                  <a:spcPts val="0"/>
                </a:spcAft>
                <a:buClrTx/>
                <a:buSzTx/>
                <a:buFontTx/>
                <a:buNone/>
                <a:tabLst/>
                <a:defRPr/>
              </a:pPr>
              <a:r>
                <a:rPr lang="en-US">
                  <a:solidFill>
                    <a:srgbClr val="002677"/>
                  </a:solidFill>
                  <a:latin typeface="Arial" panose="020B0604020202020204" pitchFamily="34" charset="0"/>
                  <a:cs typeface="Arial" panose="020B0604020202020204" pitchFamily="34" charset="0"/>
                </a:rPr>
                <a:t>16</a:t>
              </a:r>
              <a:r>
                <a:rPr kumimoji="0" lang="en-US" b="0" i="0" u="none" strike="noStrike" kern="1200" cap="none" spc="0" normalizeH="0" baseline="30000" noProof="0" err="1">
                  <a:ln>
                    <a:noFill/>
                  </a:ln>
                  <a:solidFill>
                    <a:srgbClr val="002677"/>
                  </a:solidFill>
                  <a:effectLst/>
                  <a:uLnTx/>
                  <a:uFillTx/>
                  <a:latin typeface="Arial" panose="020B0604020202020204" pitchFamily="34" charset="0"/>
                  <a:ea typeface="+mn-ea"/>
                  <a:cs typeface="Arial" panose="020B0604020202020204" pitchFamily="34" charset="0"/>
                </a:rPr>
                <a:t>th</a:t>
              </a:r>
              <a:r>
                <a:rPr kumimoji="0" lang="en-US"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January 2024</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8" name="Text Placeholder 6">
              <a:extLst>
                <a:ext uri="{FF2B5EF4-FFF2-40B4-BE49-F238E27FC236}">
                  <a16:creationId xmlns:a16="http://schemas.microsoft.com/office/drawing/2014/main" id="{5B85DB7D-37E9-27DC-664C-B7CB3988C6D8}"/>
                </a:ext>
              </a:extLst>
            </p:cNvPr>
            <p:cNvSpPr txBox="1">
              <a:spLocks/>
            </p:cNvSpPr>
            <p:nvPr/>
          </p:nvSpPr>
          <p:spPr bwMode="gray">
            <a:xfrm>
              <a:off x="9785514" y="2826593"/>
              <a:ext cx="2726154" cy="1056999"/>
            </a:xfrm>
            <a:prstGeom prst="ellipse">
              <a:avLst/>
            </a:prstGeom>
            <a:solidFill>
              <a:schemeClr val="bg2"/>
            </a:solidFill>
          </p:spPr>
          <p:txBody>
            <a:bodyPr vert="horz" wrap="square" lIns="137160" tIns="0" rIns="0" bIns="0" rtlCol="0" anchor="ctr">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Workshop 7: </a:t>
              </a:r>
              <a:r>
                <a:rPr kumimoji="0" lang="en-US"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alue for Money </a:t>
              </a:r>
            </a:p>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23</a:t>
              </a:r>
              <a:r>
                <a:rPr kumimoji="0" lang="en-US"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rd</a:t>
              </a:r>
              <a:r>
                <a:rPr kumimoji="0" lang="en-US"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January 2024</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grpSp>
      <p:sp>
        <p:nvSpPr>
          <p:cNvPr id="11" name="TextBox 10">
            <a:extLst>
              <a:ext uri="{FF2B5EF4-FFF2-40B4-BE49-F238E27FC236}">
                <a16:creationId xmlns:a16="http://schemas.microsoft.com/office/drawing/2014/main" id="{FE3F01CE-9BB6-5E0D-9F08-AD71B46BAED0}"/>
              </a:ext>
            </a:extLst>
          </p:cNvPr>
          <p:cNvSpPr txBox="1"/>
          <p:nvPr/>
        </p:nvSpPr>
        <p:spPr bwMode="gray">
          <a:xfrm>
            <a:off x="652070" y="3676647"/>
            <a:ext cx="6156985" cy="1470190"/>
          </a:xfrm>
          <a:prstGeom prst="rect">
            <a:avLst/>
          </a:prstGeom>
          <a:solidFill>
            <a:schemeClr val="bg2"/>
          </a:solidFill>
        </p:spPr>
        <p:txBody>
          <a:bodyPr vert="horz" wrap="square" lIns="91440" tIns="91440" rIns="91440" bIns="91440" rtlCol="0">
            <a:noAutofit/>
          </a:bodyPr>
          <a:lstStyle/>
          <a:p>
            <a:pPr algn="l">
              <a:spcAft>
                <a:spcPts val="600"/>
              </a:spcAft>
            </a:pPr>
            <a:r>
              <a:rPr lang="en-US" sz="1600" b="1">
                <a:solidFill>
                  <a:schemeClr val="accent6"/>
                </a:solidFill>
              </a:rPr>
              <a:t>Communities of Practice</a:t>
            </a:r>
          </a:p>
          <a:p>
            <a:pPr algn="l">
              <a:spcBef>
                <a:spcPts val="600"/>
              </a:spcBef>
            </a:pPr>
            <a:r>
              <a:rPr lang="en-US" sz="1400">
                <a:solidFill>
                  <a:schemeClr val="accent6"/>
                </a:solidFill>
              </a:rPr>
              <a:t>There will be a series of sessions for those involved in evaluating health inequalities </a:t>
            </a:r>
            <a:r>
              <a:rPr lang="en-US" sz="1400" err="1">
                <a:solidFill>
                  <a:schemeClr val="accent6"/>
                </a:solidFill>
              </a:rPr>
              <a:t>programmes</a:t>
            </a:r>
            <a:r>
              <a:rPr lang="en-US" sz="1400">
                <a:solidFill>
                  <a:schemeClr val="accent6"/>
                </a:solidFill>
              </a:rPr>
              <a:t> to come together for peer learning, best practice sharing, with evaluation champions sharing ideas and experiences. </a:t>
            </a:r>
          </a:p>
        </p:txBody>
      </p:sp>
      <p:grpSp>
        <p:nvGrpSpPr>
          <p:cNvPr id="18" name="Group 17">
            <a:extLst>
              <a:ext uri="{FF2B5EF4-FFF2-40B4-BE49-F238E27FC236}">
                <a16:creationId xmlns:a16="http://schemas.microsoft.com/office/drawing/2014/main" id="{4CCDE64E-8CFC-7D29-3433-D704F18F5FFD}"/>
              </a:ext>
            </a:extLst>
          </p:cNvPr>
          <p:cNvGrpSpPr/>
          <p:nvPr/>
        </p:nvGrpSpPr>
        <p:grpSpPr>
          <a:xfrm>
            <a:off x="778027" y="2718390"/>
            <a:ext cx="10839650" cy="553998"/>
            <a:chOff x="797293" y="3090561"/>
            <a:chExt cx="10839650" cy="553998"/>
          </a:xfrm>
        </p:grpSpPr>
        <p:cxnSp>
          <p:nvCxnSpPr>
            <p:cNvPr id="14" name="Straight Arrow Connector 13">
              <a:extLst>
                <a:ext uri="{FF2B5EF4-FFF2-40B4-BE49-F238E27FC236}">
                  <a16:creationId xmlns:a16="http://schemas.microsoft.com/office/drawing/2014/main" id="{FA1E8F7E-A788-EE59-2F6E-938E3588FB02}"/>
                </a:ext>
              </a:extLst>
            </p:cNvPr>
            <p:cNvCxnSpPr>
              <a:cxnSpLocks/>
            </p:cNvCxnSpPr>
            <p:nvPr/>
          </p:nvCxnSpPr>
          <p:spPr bwMode="gray">
            <a:xfrm>
              <a:off x="797293" y="3274996"/>
              <a:ext cx="10839650" cy="0"/>
            </a:xfrm>
            <a:prstGeom prst="straightConnector1">
              <a:avLst/>
            </a:prstGeom>
            <a:ln w="63500" cap="sq">
              <a:solidFill>
                <a:schemeClr val="tx2"/>
              </a:solidFill>
              <a:prstDash val="sysDash"/>
              <a:round/>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678D1EC-B7C8-638C-8252-16400BFDBF63}"/>
                </a:ext>
              </a:extLst>
            </p:cNvPr>
            <p:cNvSpPr txBox="1"/>
            <p:nvPr/>
          </p:nvSpPr>
          <p:spPr bwMode="gray">
            <a:xfrm>
              <a:off x="5363677" y="3090561"/>
              <a:ext cx="1464645" cy="553998"/>
            </a:xfrm>
            <a:prstGeom prst="rect">
              <a:avLst/>
            </a:prstGeom>
            <a:solidFill>
              <a:schemeClr val="bg1"/>
            </a:solidFill>
          </p:spPr>
          <p:txBody>
            <a:bodyPr vert="horz" wrap="square" lIns="0" tIns="0" rIns="0" bIns="0" rtlCol="0">
              <a:spAutoFit/>
            </a:bodyPr>
            <a:lstStyle/>
            <a:p>
              <a:pPr algn="ctr">
                <a:spcBef>
                  <a:spcPts val="600"/>
                </a:spcBef>
              </a:pPr>
              <a:r>
                <a:rPr lang="en-US" b="1">
                  <a:solidFill>
                    <a:schemeClr val="accent6"/>
                  </a:solidFill>
                </a:rPr>
                <a:t>Evaluation Framework</a:t>
              </a:r>
            </a:p>
          </p:txBody>
        </p:sp>
      </p:grpSp>
      <p:cxnSp>
        <p:nvCxnSpPr>
          <p:cNvPr id="20" name="Straight Connector 19">
            <a:extLst>
              <a:ext uri="{FF2B5EF4-FFF2-40B4-BE49-F238E27FC236}">
                <a16:creationId xmlns:a16="http://schemas.microsoft.com/office/drawing/2014/main" id="{73355FA0-E04A-B99A-BE35-DBEFDC6AC66C}"/>
              </a:ext>
            </a:extLst>
          </p:cNvPr>
          <p:cNvCxnSpPr>
            <a:cxnSpLocks/>
          </p:cNvCxnSpPr>
          <p:nvPr/>
        </p:nvCxnSpPr>
        <p:spPr bwMode="gray">
          <a:xfrm>
            <a:off x="988291" y="3429000"/>
            <a:ext cx="10387149" cy="0"/>
          </a:xfrm>
          <a:prstGeom prst="line">
            <a:avLst/>
          </a:prstGeom>
          <a:ln w="28575" cap="rnd">
            <a:solidFill>
              <a:schemeClr val="accent6"/>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4ACEE8C-DCA5-22DC-DD7D-03F02B694B8C}"/>
              </a:ext>
            </a:extLst>
          </p:cNvPr>
          <p:cNvSpPr txBox="1"/>
          <p:nvPr/>
        </p:nvSpPr>
        <p:spPr bwMode="gray">
          <a:xfrm>
            <a:off x="7016816" y="3666189"/>
            <a:ext cx="4508319" cy="1475235"/>
          </a:xfrm>
          <a:prstGeom prst="rect">
            <a:avLst/>
          </a:prstGeom>
          <a:solidFill>
            <a:schemeClr val="bg1">
              <a:lumMod val="95000"/>
            </a:schemeClr>
          </a:solidFill>
        </p:spPr>
        <p:txBody>
          <a:bodyPr vert="horz" wrap="square" lIns="182880" tIns="182880" rIns="182880" bIns="182880" rtlCol="0">
            <a:noAutofit/>
          </a:bodyPr>
          <a:lstStyle/>
          <a:p>
            <a:pPr algn="l">
              <a:spcBef>
                <a:spcPts val="600"/>
              </a:spcBef>
            </a:pPr>
            <a:r>
              <a:rPr lang="en-US" sz="1400" b="1"/>
              <a:t>Interested in being an Evaluation Champion?</a:t>
            </a:r>
          </a:p>
          <a:p>
            <a:pPr algn="l">
              <a:spcBef>
                <a:spcPts val="600"/>
              </a:spcBef>
            </a:pPr>
            <a:r>
              <a:rPr lang="en-US" sz="1400"/>
              <a:t>It would be great to have people come forward to share their work so others can benefit. If you are interested in being an evaluation champion, please contact: </a:t>
            </a:r>
            <a:r>
              <a:rPr lang="en-US" sz="1400">
                <a:hlinkClick r:id="rId2"/>
              </a:rPr>
              <a:t>Thomas.Herweijer@swlondon.nhs.uk</a:t>
            </a:r>
            <a:r>
              <a:rPr lang="en-US" sz="1400"/>
              <a:t>  </a:t>
            </a:r>
          </a:p>
        </p:txBody>
      </p:sp>
      <p:grpSp>
        <p:nvGrpSpPr>
          <p:cNvPr id="23" name="Group 22">
            <a:extLst>
              <a:ext uri="{FF2B5EF4-FFF2-40B4-BE49-F238E27FC236}">
                <a16:creationId xmlns:a16="http://schemas.microsoft.com/office/drawing/2014/main" id="{545C72D6-9F61-3192-3050-A6A11986DB82}"/>
              </a:ext>
            </a:extLst>
          </p:cNvPr>
          <p:cNvGrpSpPr/>
          <p:nvPr/>
        </p:nvGrpSpPr>
        <p:grpSpPr>
          <a:xfrm>
            <a:off x="778027" y="5303450"/>
            <a:ext cx="10839650" cy="553998"/>
            <a:chOff x="797293" y="3090561"/>
            <a:chExt cx="10839650" cy="553998"/>
          </a:xfrm>
        </p:grpSpPr>
        <p:cxnSp>
          <p:nvCxnSpPr>
            <p:cNvPr id="24" name="Straight Arrow Connector 23">
              <a:extLst>
                <a:ext uri="{FF2B5EF4-FFF2-40B4-BE49-F238E27FC236}">
                  <a16:creationId xmlns:a16="http://schemas.microsoft.com/office/drawing/2014/main" id="{C5BA494F-7926-90DA-80FF-C059E1FB208C}"/>
                </a:ext>
              </a:extLst>
            </p:cNvPr>
            <p:cNvCxnSpPr>
              <a:cxnSpLocks/>
            </p:cNvCxnSpPr>
            <p:nvPr/>
          </p:nvCxnSpPr>
          <p:spPr bwMode="gray">
            <a:xfrm>
              <a:off x="797293" y="3274996"/>
              <a:ext cx="10839650" cy="0"/>
            </a:xfrm>
            <a:prstGeom prst="straightConnector1">
              <a:avLst/>
            </a:prstGeom>
            <a:ln w="63500" cap="sq">
              <a:solidFill>
                <a:schemeClr val="tx2"/>
              </a:solidFill>
              <a:prstDash val="sysDash"/>
              <a:round/>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EFB74CA-9153-3C68-E575-97A9F3AA9146}"/>
                </a:ext>
              </a:extLst>
            </p:cNvPr>
            <p:cNvSpPr txBox="1"/>
            <p:nvPr/>
          </p:nvSpPr>
          <p:spPr bwMode="gray">
            <a:xfrm>
              <a:off x="5363677" y="3090561"/>
              <a:ext cx="1464645" cy="553998"/>
            </a:xfrm>
            <a:prstGeom prst="rect">
              <a:avLst/>
            </a:prstGeom>
            <a:solidFill>
              <a:schemeClr val="bg1"/>
            </a:solidFill>
          </p:spPr>
          <p:txBody>
            <a:bodyPr vert="horz" wrap="square" lIns="0" tIns="0" rIns="0" bIns="0" rtlCol="0">
              <a:spAutoFit/>
            </a:bodyPr>
            <a:lstStyle/>
            <a:p>
              <a:pPr algn="ctr">
                <a:spcBef>
                  <a:spcPts val="600"/>
                </a:spcBef>
              </a:pPr>
              <a:r>
                <a:rPr lang="en-US" b="1">
                  <a:solidFill>
                    <a:schemeClr val="accent6"/>
                  </a:solidFill>
                </a:rPr>
                <a:t>Communities of Practice </a:t>
              </a:r>
            </a:p>
          </p:txBody>
        </p:sp>
      </p:grpSp>
      <p:sp>
        <p:nvSpPr>
          <p:cNvPr id="26" name="TextBox 25">
            <a:extLst>
              <a:ext uri="{FF2B5EF4-FFF2-40B4-BE49-F238E27FC236}">
                <a16:creationId xmlns:a16="http://schemas.microsoft.com/office/drawing/2014/main" id="{8414FDE8-BD44-4653-7CDC-C43A608A0257}"/>
              </a:ext>
            </a:extLst>
          </p:cNvPr>
          <p:cNvSpPr txBox="1"/>
          <p:nvPr/>
        </p:nvSpPr>
        <p:spPr bwMode="gray">
          <a:xfrm>
            <a:off x="652070" y="5580449"/>
            <a:ext cx="1107877" cy="153888"/>
          </a:xfrm>
          <a:prstGeom prst="rect">
            <a:avLst/>
          </a:prstGeom>
          <a:noFill/>
        </p:spPr>
        <p:txBody>
          <a:bodyPr vert="horz" wrap="square" lIns="0" tIns="0" rIns="0" bIns="0" rtlCol="0">
            <a:spAutoFit/>
          </a:bodyPr>
          <a:lstStyle/>
          <a:p>
            <a:pPr algn="ctr">
              <a:spcBef>
                <a:spcPts val="600"/>
              </a:spcBef>
            </a:pPr>
            <a:r>
              <a:rPr lang="en-US" sz="1000">
                <a:solidFill>
                  <a:schemeClr val="accent6"/>
                </a:solidFill>
              </a:rPr>
              <a:t>January 2024</a:t>
            </a:r>
          </a:p>
        </p:txBody>
      </p:sp>
      <p:sp>
        <p:nvSpPr>
          <p:cNvPr id="27" name="TextBox 26">
            <a:extLst>
              <a:ext uri="{FF2B5EF4-FFF2-40B4-BE49-F238E27FC236}">
                <a16:creationId xmlns:a16="http://schemas.microsoft.com/office/drawing/2014/main" id="{160FA8C9-2CAF-824C-11B5-787DD995825A}"/>
              </a:ext>
            </a:extLst>
          </p:cNvPr>
          <p:cNvSpPr txBox="1"/>
          <p:nvPr/>
        </p:nvSpPr>
        <p:spPr bwMode="gray">
          <a:xfrm>
            <a:off x="10327857" y="5580449"/>
            <a:ext cx="1047583" cy="153888"/>
          </a:xfrm>
          <a:prstGeom prst="rect">
            <a:avLst/>
          </a:prstGeom>
          <a:noFill/>
        </p:spPr>
        <p:txBody>
          <a:bodyPr vert="horz" wrap="square" lIns="0" tIns="0" rIns="0" bIns="0" rtlCol="0">
            <a:spAutoFit/>
          </a:bodyPr>
          <a:lstStyle/>
          <a:p>
            <a:pPr algn="ctr">
              <a:spcBef>
                <a:spcPts val="600"/>
              </a:spcBef>
            </a:pPr>
            <a:r>
              <a:rPr lang="en-US" sz="1000">
                <a:solidFill>
                  <a:schemeClr val="accent6"/>
                </a:solidFill>
              </a:rPr>
              <a:t>March 2024</a:t>
            </a:r>
          </a:p>
        </p:txBody>
      </p:sp>
      <p:pic>
        <p:nvPicPr>
          <p:cNvPr id="28" name="Picture 27">
            <a:extLst>
              <a:ext uri="{FF2B5EF4-FFF2-40B4-BE49-F238E27FC236}">
                <a16:creationId xmlns:a16="http://schemas.microsoft.com/office/drawing/2014/main" id="{9CB3CD06-31A1-1A39-A2F7-FBFCFCD24D3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11015717" y="3729849"/>
            <a:ext cx="509418" cy="509418"/>
          </a:xfrm>
          <a:prstGeom prst="rect">
            <a:avLst/>
          </a:prstGeom>
        </p:spPr>
      </p:pic>
      <p:pic>
        <p:nvPicPr>
          <p:cNvPr id="29" name="Picture 28">
            <a:extLst>
              <a:ext uri="{FF2B5EF4-FFF2-40B4-BE49-F238E27FC236}">
                <a16:creationId xmlns:a16="http://schemas.microsoft.com/office/drawing/2014/main" id="{F9B6DFF1-EFA9-0BBE-BB5A-7F4326A22F8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3138248" y="3666189"/>
            <a:ext cx="509418" cy="509418"/>
          </a:xfrm>
          <a:prstGeom prst="rect">
            <a:avLst/>
          </a:prstGeom>
        </p:spPr>
      </p:pic>
    </p:spTree>
    <p:extLst>
      <p:ext uri="{BB962C8B-B14F-4D97-AF65-F5344CB8AC3E}">
        <p14:creationId xmlns:p14="http://schemas.microsoft.com/office/powerpoint/2010/main" val="3450976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8EECEA0-1865-441F-8283-B2C59542F332}"/>
              </a:ext>
            </a:extLst>
          </p:cNvPr>
          <p:cNvSpPr>
            <a:spLocks noGrp="1"/>
          </p:cNvSpPr>
          <p:nvPr>
            <p:ph type="sldNum" sz="quarter" idx="4294967295"/>
          </p:nvPr>
        </p:nvSpPr>
        <p:spPr>
          <a:xfrm>
            <a:off x="11582400" y="6624638"/>
            <a:ext cx="609600" cy="1825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6C4C68-9C76-5449-BBA0-107A51179E14}" type="slidenum">
              <a:rPr kumimoji="0" lang="en-US" sz="200" b="0" i="0" u="none" strike="noStrike" kern="1200" cap="none" spc="0" normalizeH="0" baseline="0" noProof="0" smtClean="0">
                <a:ln>
                  <a:noFill/>
                </a:ln>
                <a:solidFill>
                  <a:srgbClr val="005EB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US" sz="200" b="0" i="0" u="none" strike="noStrike" kern="1200" cap="none" spc="0" normalizeH="0" baseline="0" noProof="0">
              <a:ln>
                <a:noFill/>
              </a:ln>
              <a:solidFill>
                <a:srgbClr val="005EB8"/>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413793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536499-0528-498A-ABDE-B0F4B7B1A18B}"/>
              </a:ext>
            </a:extLst>
          </p:cNvPr>
          <p:cNvSpPr>
            <a:spLocks noGrp="1"/>
          </p:cNvSpPr>
          <p:nvPr>
            <p:ph type="title"/>
          </p:nvPr>
        </p:nvSpPr>
        <p:spPr/>
        <p:txBody>
          <a:bodyPr/>
          <a:lstStyle/>
          <a:p>
            <a:r>
              <a:rPr lang="en-US"/>
              <a:t>Quantitative Evaluation: Strengths and Weaknesses </a:t>
            </a:r>
          </a:p>
        </p:txBody>
      </p:sp>
      <p:sp>
        <p:nvSpPr>
          <p:cNvPr id="24" name="Rectangle 23">
            <a:extLst>
              <a:ext uri="{FF2B5EF4-FFF2-40B4-BE49-F238E27FC236}">
                <a16:creationId xmlns:a16="http://schemas.microsoft.com/office/drawing/2014/main" id="{919FFE5D-A421-4510-BA61-342F21A32097}"/>
              </a:ext>
            </a:extLst>
          </p:cNvPr>
          <p:cNvSpPr/>
          <p:nvPr/>
        </p:nvSpPr>
        <p:spPr bwMode="gray">
          <a:xfrm>
            <a:off x="877307" y="1674154"/>
            <a:ext cx="3025319" cy="3805385"/>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4C5320E8-80CD-4626-9E6F-54355E0822CA}"/>
              </a:ext>
            </a:extLst>
          </p:cNvPr>
          <p:cNvSpPr txBox="1"/>
          <p:nvPr/>
        </p:nvSpPr>
        <p:spPr bwMode="gray">
          <a:xfrm>
            <a:off x="1132950" y="3054011"/>
            <a:ext cx="2514031" cy="172354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02677"/>
                </a:solidFill>
                <a:effectLst/>
                <a:uLnTx/>
                <a:uFillTx/>
                <a:latin typeface="Arial" panose="020B0604020202020204"/>
                <a:ea typeface="+mn-ea"/>
                <a:cs typeface="+mn-cs"/>
              </a:rPr>
              <a:t>Using numerical methodologies, including data analysis and statistics, to assess whether or not an intervention has been effective in achieving its goals.</a:t>
            </a:r>
          </a:p>
        </p:txBody>
      </p:sp>
      <p:sp>
        <p:nvSpPr>
          <p:cNvPr id="13" name="TextBox 12">
            <a:extLst>
              <a:ext uri="{FF2B5EF4-FFF2-40B4-BE49-F238E27FC236}">
                <a16:creationId xmlns:a16="http://schemas.microsoft.com/office/drawing/2014/main" id="{8BC6A2F5-9D4B-455E-ABFD-CD664610CB9F}"/>
              </a:ext>
            </a:extLst>
          </p:cNvPr>
          <p:cNvSpPr txBox="1"/>
          <p:nvPr/>
        </p:nvSpPr>
        <p:spPr bwMode="gray">
          <a:xfrm>
            <a:off x="4577003" y="2003960"/>
            <a:ext cx="2694654"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002677"/>
                </a:solidFill>
                <a:effectLst/>
                <a:uLnTx/>
                <a:uFillTx/>
                <a:latin typeface="Arial" panose="020B0604020202020204"/>
                <a:ea typeface="+mn-ea"/>
                <a:cs typeface="+mn-cs"/>
              </a:rPr>
              <a:t>Strengths</a:t>
            </a:r>
          </a:p>
        </p:txBody>
      </p:sp>
      <p:cxnSp>
        <p:nvCxnSpPr>
          <p:cNvPr id="21" name="Straight Connector 20">
            <a:extLst>
              <a:ext uri="{FF2B5EF4-FFF2-40B4-BE49-F238E27FC236}">
                <a16:creationId xmlns:a16="http://schemas.microsoft.com/office/drawing/2014/main" id="{F6FF3890-0011-43AF-9EDA-7DAEEDEFA643}"/>
              </a:ext>
            </a:extLst>
          </p:cNvPr>
          <p:cNvCxnSpPr/>
          <p:nvPr/>
        </p:nvCxnSpPr>
        <p:spPr bwMode="gray">
          <a:xfrm>
            <a:off x="4577003" y="2382417"/>
            <a:ext cx="292608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C25EA1-E7FA-4A9F-AB06-19DDEF81C366}"/>
              </a:ext>
            </a:extLst>
          </p:cNvPr>
          <p:cNvSpPr txBox="1"/>
          <p:nvPr/>
        </p:nvSpPr>
        <p:spPr bwMode="gray">
          <a:xfrm>
            <a:off x="4577003" y="2469236"/>
            <a:ext cx="2578827" cy="3323987"/>
          </a:xfrm>
          <a:prstGeom prst="rect">
            <a:avLst/>
          </a:prstGeom>
          <a:noFill/>
        </p:spPr>
        <p:txBody>
          <a:bodyPr vert="horz" wrap="square" lIns="0" tIns="0" rIns="0" bIns="0" rtlCol="0">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Can definitively answer the questions “How many” and “How much?”</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Clear numerical / statistical result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Proven and verified statistical methodologies are availabl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Clear </a:t>
            </a:r>
            <a:r>
              <a:rPr kumimoji="0" lang="en-US" sz="1400" i="0" u="none" strike="noStrike" kern="1200" cap="none" spc="0" normalizeH="0" baseline="0" noProof="0" err="1">
                <a:ln>
                  <a:noFill/>
                </a:ln>
                <a:solidFill>
                  <a:srgbClr val="4B4D4F"/>
                </a:solidFill>
                <a:effectLst/>
                <a:uLnTx/>
                <a:uFillTx/>
                <a:latin typeface="Arial" panose="020B0604020202020204"/>
                <a:ea typeface="+mn-ea"/>
                <a:cs typeface="+mn-cs"/>
              </a:rPr>
              <a:t>visualisations</a:t>
            </a: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 can be built to show findings including time-series graphs and variance chart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Able to use secondary data from various sources</a:t>
            </a:r>
          </a:p>
        </p:txBody>
      </p:sp>
      <p:sp>
        <p:nvSpPr>
          <p:cNvPr id="14" name="TextBox 13">
            <a:extLst>
              <a:ext uri="{FF2B5EF4-FFF2-40B4-BE49-F238E27FC236}">
                <a16:creationId xmlns:a16="http://schemas.microsoft.com/office/drawing/2014/main" id="{551FBBF0-826F-469D-94C9-798EEA4859E9}"/>
              </a:ext>
            </a:extLst>
          </p:cNvPr>
          <p:cNvSpPr txBox="1"/>
          <p:nvPr/>
        </p:nvSpPr>
        <p:spPr bwMode="gray">
          <a:xfrm>
            <a:off x="8029329" y="2003960"/>
            <a:ext cx="2692224"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002677"/>
                </a:solidFill>
                <a:effectLst/>
                <a:uLnTx/>
                <a:uFillTx/>
                <a:latin typeface="Arial" panose="020B0604020202020204"/>
                <a:ea typeface="+mn-ea"/>
                <a:cs typeface="+mn-cs"/>
              </a:rPr>
              <a:t>Weaknesses</a:t>
            </a:r>
          </a:p>
        </p:txBody>
      </p:sp>
      <p:cxnSp>
        <p:nvCxnSpPr>
          <p:cNvPr id="22" name="Straight Connector 21">
            <a:extLst>
              <a:ext uri="{FF2B5EF4-FFF2-40B4-BE49-F238E27FC236}">
                <a16:creationId xmlns:a16="http://schemas.microsoft.com/office/drawing/2014/main" id="{C1EA879D-E200-428E-AC8C-9CBBE6D3D17C}"/>
              </a:ext>
            </a:extLst>
          </p:cNvPr>
          <p:cNvCxnSpPr>
            <a:cxnSpLocks/>
          </p:cNvCxnSpPr>
          <p:nvPr/>
        </p:nvCxnSpPr>
        <p:spPr bwMode="gray">
          <a:xfrm>
            <a:off x="8026899" y="2382417"/>
            <a:ext cx="292608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3EC8CA1-111B-491B-96DD-E122AB0AA912}"/>
              </a:ext>
            </a:extLst>
          </p:cNvPr>
          <p:cNvSpPr txBox="1"/>
          <p:nvPr/>
        </p:nvSpPr>
        <p:spPr bwMode="gray">
          <a:xfrm>
            <a:off x="8026899" y="2469236"/>
            <a:ext cx="2933460" cy="1446550"/>
          </a:xfrm>
          <a:prstGeom prst="rect">
            <a:avLst/>
          </a:prstGeom>
          <a:noFill/>
        </p:spPr>
        <p:txBody>
          <a:bodyPr vert="horz" wrap="square" lIns="0" tIns="0" rIns="0" bIns="0" rtlCol="0">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Does not always answer the question “Why?”</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Lacks softer intelligenc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Non-analytical viewers may find the results harder to interpret than qualitative research</a:t>
            </a:r>
          </a:p>
        </p:txBody>
      </p:sp>
      <p:sp>
        <p:nvSpPr>
          <p:cNvPr id="3" name="TextBox 2">
            <a:extLst>
              <a:ext uri="{FF2B5EF4-FFF2-40B4-BE49-F238E27FC236}">
                <a16:creationId xmlns:a16="http://schemas.microsoft.com/office/drawing/2014/main" id="{367C6387-5720-CACC-E6A0-F72B83B4C577}"/>
              </a:ext>
            </a:extLst>
          </p:cNvPr>
          <p:cNvSpPr txBox="1"/>
          <p:nvPr/>
        </p:nvSpPr>
        <p:spPr bwMode="gray">
          <a:xfrm>
            <a:off x="1192294" y="2276810"/>
            <a:ext cx="2395341" cy="553998"/>
          </a:xfrm>
          <a:prstGeom prst="rect">
            <a:avLst/>
          </a:prstGeom>
          <a:noFill/>
        </p:spPr>
        <p:txBody>
          <a:bodyPr vert="horz" wrap="square" lIns="0" tIns="0" rIns="0" bIns="0" rtlCol="0">
            <a:spAutoFit/>
          </a:bodyPr>
          <a:lstStyle/>
          <a:p>
            <a:pPr algn="ctr">
              <a:spcBef>
                <a:spcPts val="600"/>
              </a:spcBef>
            </a:pPr>
            <a:r>
              <a:rPr lang="en-US" b="1">
                <a:solidFill>
                  <a:schemeClr val="accent6"/>
                </a:solidFill>
              </a:rPr>
              <a:t>What is quantitative evaluation?</a:t>
            </a:r>
          </a:p>
        </p:txBody>
      </p:sp>
      <p:pic>
        <p:nvPicPr>
          <p:cNvPr id="4" name="Picture 3">
            <a:extLst>
              <a:ext uri="{FF2B5EF4-FFF2-40B4-BE49-F238E27FC236}">
                <a16:creationId xmlns:a16="http://schemas.microsoft.com/office/drawing/2014/main" id="{C537E151-5C3B-4656-DC52-2B52646F4665}"/>
              </a:ext>
            </a:extLst>
          </p:cNvPr>
          <p:cNvPicPr>
            <a:picLocks noChangeAspect="1"/>
          </p:cNvPicPr>
          <p:nvPr/>
        </p:nvPicPr>
        <p:blipFill>
          <a:blip r:embed="rId2"/>
          <a:stretch>
            <a:fillRect/>
          </a:stretch>
        </p:blipFill>
        <p:spPr>
          <a:xfrm>
            <a:off x="9275730" y="1966684"/>
            <a:ext cx="362299" cy="362299"/>
          </a:xfrm>
          <a:prstGeom prst="rect">
            <a:avLst/>
          </a:prstGeom>
        </p:spPr>
      </p:pic>
      <p:pic>
        <p:nvPicPr>
          <p:cNvPr id="5" name="Picture 4">
            <a:extLst>
              <a:ext uri="{FF2B5EF4-FFF2-40B4-BE49-F238E27FC236}">
                <a16:creationId xmlns:a16="http://schemas.microsoft.com/office/drawing/2014/main" id="{D2D4DAC4-0F69-2A51-29EE-3DEFE5D9535A}"/>
              </a:ext>
            </a:extLst>
          </p:cNvPr>
          <p:cNvPicPr>
            <a:picLocks noChangeAspect="1"/>
          </p:cNvPicPr>
          <p:nvPr/>
        </p:nvPicPr>
        <p:blipFill>
          <a:blip r:embed="rId3"/>
          <a:stretch>
            <a:fillRect/>
          </a:stretch>
        </p:blipFill>
        <p:spPr>
          <a:xfrm>
            <a:off x="5545524" y="1942980"/>
            <a:ext cx="362299" cy="362299"/>
          </a:xfrm>
          <a:prstGeom prst="rect">
            <a:avLst/>
          </a:prstGeom>
        </p:spPr>
      </p:pic>
    </p:spTree>
    <p:extLst>
      <p:ext uri="{BB962C8B-B14F-4D97-AF65-F5344CB8AC3E}">
        <p14:creationId xmlns:p14="http://schemas.microsoft.com/office/powerpoint/2010/main" val="18374631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536499-0528-498A-ABDE-B0F4B7B1A18B}"/>
              </a:ext>
            </a:extLst>
          </p:cNvPr>
          <p:cNvSpPr>
            <a:spLocks noGrp="1"/>
          </p:cNvSpPr>
          <p:nvPr>
            <p:ph type="title"/>
          </p:nvPr>
        </p:nvSpPr>
        <p:spPr/>
        <p:txBody>
          <a:bodyPr/>
          <a:lstStyle/>
          <a:p>
            <a:r>
              <a:rPr lang="en-US"/>
              <a:t>Quantitative Evaluation: Checklist and data types</a:t>
            </a:r>
          </a:p>
        </p:txBody>
      </p:sp>
      <p:sp>
        <p:nvSpPr>
          <p:cNvPr id="24" name="Rectangle 23">
            <a:extLst>
              <a:ext uri="{FF2B5EF4-FFF2-40B4-BE49-F238E27FC236}">
                <a16:creationId xmlns:a16="http://schemas.microsoft.com/office/drawing/2014/main" id="{919FFE5D-A421-4510-BA61-342F21A32097}"/>
              </a:ext>
            </a:extLst>
          </p:cNvPr>
          <p:cNvSpPr/>
          <p:nvPr/>
        </p:nvSpPr>
        <p:spPr bwMode="gray">
          <a:xfrm>
            <a:off x="877307" y="1674154"/>
            <a:ext cx="3025319" cy="4320246"/>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4C5320E8-80CD-4626-9E6F-54355E0822CA}"/>
              </a:ext>
            </a:extLst>
          </p:cNvPr>
          <p:cNvSpPr txBox="1"/>
          <p:nvPr/>
        </p:nvSpPr>
        <p:spPr bwMode="gray">
          <a:xfrm>
            <a:off x="1031984" y="2195266"/>
            <a:ext cx="2715963" cy="3831818"/>
          </a:xfrm>
          <a:prstGeom prst="rect">
            <a:avLst/>
          </a:prstGeom>
          <a:noFill/>
        </p:spPr>
        <p:txBody>
          <a:bodyPr vert="horz" wrap="square" lIns="0" tIns="0" rIns="0" bIns="0" rtlCol="0">
            <a:spAutoFit/>
          </a:bodyPr>
          <a:lstStyle/>
          <a:p>
            <a:pPr marL="285750" marR="0" lvl="0" indent="-285750"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002677"/>
                </a:solidFill>
                <a:effectLst/>
                <a:uLnTx/>
                <a:uFillTx/>
                <a:latin typeface="Arial" panose="020B0604020202020204"/>
                <a:ea typeface="+mn-ea"/>
                <a:cs typeface="+mn-cs"/>
              </a:rPr>
              <a:t>Research/evaluation question(s)</a:t>
            </a:r>
          </a:p>
          <a:p>
            <a:pPr marL="285750" marR="0" lvl="0" indent="-285750"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lang="en-US" sz="1600">
                <a:solidFill>
                  <a:srgbClr val="002677"/>
                </a:solidFill>
                <a:latin typeface="Arial" panose="020B0604020202020204"/>
              </a:rPr>
              <a:t>Agreed outcomes</a:t>
            </a:r>
            <a:r>
              <a:rPr kumimoji="0" lang="en-US" sz="1600" b="0" i="0" u="none" strike="noStrike" kern="1200" cap="none" spc="0" normalizeH="0" baseline="0" noProof="0">
                <a:ln>
                  <a:noFill/>
                </a:ln>
                <a:solidFill>
                  <a:srgbClr val="002677"/>
                </a:solidFill>
                <a:effectLst/>
                <a:uLnTx/>
                <a:uFillTx/>
                <a:latin typeface="Arial" panose="020B0604020202020204"/>
                <a:ea typeface="+mn-ea"/>
                <a:cs typeface="+mn-cs"/>
              </a:rPr>
              <a:t> to test</a:t>
            </a:r>
          </a:p>
          <a:p>
            <a:pPr marL="285750" marR="0" lvl="0" indent="-285750"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002677"/>
                </a:solidFill>
                <a:effectLst/>
                <a:uLnTx/>
                <a:uFillTx/>
                <a:latin typeface="Arial" panose="020B0604020202020204"/>
                <a:ea typeface="+mn-ea"/>
                <a:cs typeface="+mn-cs"/>
              </a:rPr>
              <a:t>Date(s) of intervention</a:t>
            </a:r>
          </a:p>
          <a:p>
            <a:pPr marL="285750" marR="0" lvl="0" indent="-285750"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002677"/>
                </a:solidFill>
                <a:effectLst/>
                <a:uLnTx/>
                <a:uFillTx/>
                <a:latin typeface="Arial" panose="020B0604020202020204"/>
                <a:ea typeface="+mn-ea"/>
                <a:cs typeface="+mn-cs"/>
              </a:rPr>
              <a:t>Access to data for people who received the intervention OR a well-designed survey to record primary data</a:t>
            </a:r>
          </a:p>
          <a:p>
            <a:pPr marL="285750" marR="0" lvl="0" indent="-285750"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002677"/>
                </a:solidFill>
                <a:effectLst/>
                <a:uLnTx/>
                <a:uFillTx/>
                <a:latin typeface="Arial" panose="020B0604020202020204"/>
                <a:ea typeface="+mn-ea"/>
                <a:cs typeface="+mn-cs"/>
              </a:rPr>
              <a:t>Historic data to benchmark future trends by</a:t>
            </a:r>
          </a:p>
          <a:p>
            <a:pPr marL="285750" marR="0" lvl="0" indent="-285750"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002677"/>
                </a:solidFill>
                <a:effectLst/>
                <a:uLnTx/>
                <a:uFillTx/>
                <a:latin typeface="Arial" panose="020B0604020202020204"/>
                <a:ea typeface="+mn-ea"/>
                <a:cs typeface="+mn-cs"/>
              </a:rPr>
              <a:t>Costed data if you are aiming to evidence financial savings</a:t>
            </a:r>
          </a:p>
        </p:txBody>
      </p:sp>
      <p:grpSp>
        <p:nvGrpSpPr>
          <p:cNvPr id="6" name="Group 5">
            <a:extLst>
              <a:ext uri="{FF2B5EF4-FFF2-40B4-BE49-F238E27FC236}">
                <a16:creationId xmlns:a16="http://schemas.microsoft.com/office/drawing/2014/main" id="{7FF338A6-C07A-8B6E-79AF-B11845D921FB}"/>
              </a:ext>
            </a:extLst>
          </p:cNvPr>
          <p:cNvGrpSpPr/>
          <p:nvPr/>
        </p:nvGrpSpPr>
        <p:grpSpPr>
          <a:xfrm>
            <a:off x="4567767" y="2478254"/>
            <a:ext cx="6383356" cy="2712045"/>
            <a:chOff x="4577003" y="2003960"/>
            <a:chExt cx="6383356" cy="2712045"/>
          </a:xfrm>
        </p:grpSpPr>
        <p:sp>
          <p:nvSpPr>
            <p:cNvPr id="13" name="TextBox 12">
              <a:extLst>
                <a:ext uri="{FF2B5EF4-FFF2-40B4-BE49-F238E27FC236}">
                  <a16:creationId xmlns:a16="http://schemas.microsoft.com/office/drawing/2014/main" id="{8BC6A2F5-9D4B-455E-ABFD-CD664610CB9F}"/>
                </a:ext>
              </a:extLst>
            </p:cNvPr>
            <p:cNvSpPr txBox="1"/>
            <p:nvPr/>
          </p:nvSpPr>
          <p:spPr bwMode="gray">
            <a:xfrm>
              <a:off x="4577003" y="2003960"/>
              <a:ext cx="2694654"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effectLst/>
                  <a:uLnTx/>
                  <a:uFillTx/>
                  <a:latin typeface="Arial" panose="020B0604020202020204"/>
                  <a:ea typeface="+mn-ea"/>
                  <a:cs typeface="+mn-cs"/>
                </a:rPr>
                <a:t>Primary</a:t>
              </a:r>
            </a:p>
          </p:txBody>
        </p:sp>
        <p:cxnSp>
          <p:nvCxnSpPr>
            <p:cNvPr id="21" name="Straight Connector 20">
              <a:extLst>
                <a:ext uri="{FF2B5EF4-FFF2-40B4-BE49-F238E27FC236}">
                  <a16:creationId xmlns:a16="http://schemas.microsoft.com/office/drawing/2014/main" id="{F6FF3890-0011-43AF-9EDA-7DAEEDEFA643}"/>
                </a:ext>
              </a:extLst>
            </p:cNvPr>
            <p:cNvCxnSpPr/>
            <p:nvPr/>
          </p:nvCxnSpPr>
          <p:spPr bwMode="gray">
            <a:xfrm>
              <a:off x="4577003" y="2382417"/>
              <a:ext cx="292608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C25EA1-E7FA-4A9F-AB06-19DDEF81C366}"/>
                </a:ext>
              </a:extLst>
            </p:cNvPr>
            <p:cNvSpPr txBox="1"/>
            <p:nvPr/>
          </p:nvSpPr>
          <p:spPr bwMode="gray">
            <a:xfrm>
              <a:off x="4577003" y="2469236"/>
              <a:ext cx="2578827" cy="2169825"/>
            </a:xfrm>
            <a:prstGeom prst="rect">
              <a:avLst/>
            </a:prstGeom>
            <a:noFill/>
          </p:spPr>
          <p:txBody>
            <a:bodyPr vert="horz" wrap="square" lIns="0" tIns="0" rIns="0" bIns="0" rtlCol="0">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Collect yourself or by people you’re working with</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Surveys, questionnaires, </a:t>
              </a:r>
              <a:r>
                <a:rPr kumimoji="0" lang="en-US" sz="1400" i="0" u="none" strike="noStrike" kern="1200" cap="none" spc="0" normalizeH="0" baseline="0" noProof="0" err="1">
                  <a:ln>
                    <a:noFill/>
                  </a:ln>
                  <a:solidFill>
                    <a:srgbClr val="4B4D4F"/>
                  </a:solidFill>
                  <a:effectLst/>
                  <a:uLnTx/>
                  <a:uFillTx/>
                  <a:latin typeface="Arial" panose="020B0604020202020204"/>
                  <a:ea typeface="+mn-ea"/>
                  <a:cs typeface="+mn-cs"/>
                </a:rPr>
                <a:t>etc</a:t>
              </a:r>
              <a:endParaRPr kumimoji="0" lang="en-US" sz="1400" i="0" u="none" strike="noStrike" kern="1200" cap="none" spc="0" normalizeH="0" baseline="0" noProof="0">
                <a:ln>
                  <a:noFill/>
                </a:ln>
                <a:solidFill>
                  <a:srgbClr val="4B4D4F"/>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Specific to what you need to answer your evaluation question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4B4D4F"/>
                  </a:solidFill>
                  <a:effectLst/>
                  <a:uLnTx/>
                  <a:uFillTx/>
                  <a:latin typeface="Arial" panose="020B0604020202020204"/>
                  <a:ea typeface="+mn-ea"/>
                  <a:cs typeface="+mn-cs"/>
                </a:rPr>
                <a:t>However, can take longer to record and may not be feasible</a:t>
              </a:r>
            </a:p>
          </p:txBody>
        </p:sp>
        <p:sp>
          <p:nvSpPr>
            <p:cNvPr id="14" name="TextBox 13">
              <a:extLst>
                <a:ext uri="{FF2B5EF4-FFF2-40B4-BE49-F238E27FC236}">
                  <a16:creationId xmlns:a16="http://schemas.microsoft.com/office/drawing/2014/main" id="{551FBBF0-826F-469D-94C9-798EEA4859E9}"/>
                </a:ext>
              </a:extLst>
            </p:cNvPr>
            <p:cNvSpPr txBox="1"/>
            <p:nvPr/>
          </p:nvSpPr>
          <p:spPr bwMode="gray">
            <a:xfrm>
              <a:off x="8029329" y="2003960"/>
              <a:ext cx="2692224"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effectLst/>
                  <a:uLnTx/>
                  <a:uFillTx/>
                  <a:latin typeface="Arial" panose="020B0604020202020204"/>
                  <a:ea typeface="+mn-ea"/>
                  <a:cs typeface="+mn-cs"/>
                </a:rPr>
                <a:t>Secondary </a:t>
              </a:r>
            </a:p>
          </p:txBody>
        </p:sp>
        <p:cxnSp>
          <p:nvCxnSpPr>
            <p:cNvPr id="22" name="Straight Connector 21">
              <a:extLst>
                <a:ext uri="{FF2B5EF4-FFF2-40B4-BE49-F238E27FC236}">
                  <a16:creationId xmlns:a16="http://schemas.microsoft.com/office/drawing/2014/main" id="{C1EA879D-E200-428E-AC8C-9CBBE6D3D17C}"/>
                </a:ext>
              </a:extLst>
            </p:cNvPr>
            <p:cNvCxnSpPr>
              <a:cxnSpLocks/>
            </p:cNvCxnSpPr>
            <p:nvPr/>
          </p:nvCxnSpPr>
          <p:spPr bwMode="gray">
            <a:xfrm>
              <a:off x="8026899" y="2382417"/>
              <a:ext cx="292608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3EC8CA1-111B-491B-96DD-E122AB0AA912}"/>
                </a:ext>
              </a:extLst>
            </p:cNvPr>
            <p:cNvSpPr txBox="1"/>
            <p:nvPr/>
          </p:nvSpPr>
          <p:spPr bwMode="gray">
            <a:xfrm>
              <a:off x="8026899" y="2469236"/>
              <a:ext cx="2933460" cy="2246769"/>
            </a:xfrm>
            <a:prstGeom prst="rect">
              <a:avLst/>
            </a:prstGeom>
            <a:noFill/>
          </p:spPr>
          <p:txBody>
            <a:bodyPr vert="horz" wrap="square" lIns="0" tIns="0" rIns="0" bIns="0" rtlCol="0">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Already recorded by other people / data recording system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Can be large data which is ideal for in-depth, robust analyse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Faster to </a:t>
              </a:r>
              <a:r>
                <a:rPr lang="en-US" sz="1400">
                  <a:solidFill>
                    <a:srgbClr val="4B4D4F"/>
                  </a:solidFill>
                  <a:latin typeface="Arial" panose="020B0604020202020204"/>
                </a:rPr>
                <a:t>use</a:t>
              </a:r>
              <a:endParaRPr kumimoji="0" lang="en-US" sz="1400" b="0" i="0" u="none" strike="noStrike" kern="1200" cap="none" spc="0" normalizeH="0" baseline="0" noProof="0">
                <a:ln>
                  <a:noFill/>
                </a:ln>
                <a:solidFill>
                  <a:srgbClr val="4B4D4F"/>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NHS has some of the largest and most robust datasets in the world</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Information governance and ethical considerations</a:t>
              </a:r>
            </a:p>
          </p:txBody>
        </p:sp>
      </p:grpSp>
      <p:sp>
        <p:nvSpPr>
          <p:cNvPr id="3" name="TextBox 2">
            <a:extLst>
              <a:ext uri="{FF2B5EF4-FFF2-40B4-BE49-F238E27FC236}">
                <a16:creationId xmlns:a16="http://schemas.microsoft.com/office/drawing/2014/main" id="{367C6387-5720-CACC-E6A0-F72B83B4C577}"/>
              </a:ext>
            </a:extLst>
          </p:cNvPr>
          <p:cNvSpPr txBox="1"/>
          <p:nvPr/>
        </p:nvSpPr>
        <p:spPr bwMode="gray">
          <a:xfrm>
            <a:off x="1278716" y="1810363"/>
            <a:ext cx="2395341" cy="276999"/>
          </a:xfrm>
          <a:prstGeom prst="rect">
            <a:avLst/>
          </a:prstGeom>
          <a:noFill/>
        </p:spPr>
        <p:txBody>
          <a:bodyPr vert="horz" wrap="square" lIns="0" tIns="0" rIns="0" bIns="0" rtlCol="0">
            <a:spAutoFit/>
          </a:bodyPr>
          <a:lstStyle/>
          <a:p>
            <a:pPr>
              <a:spcBef>
                <a:spcPts val="600"/>
              </a:spcBef>
            </a:pPr>
            <a:r>
              <a:rPr lang="en-US" b="1">
                <a:solidFill>
                  <a:schemeClr val="accent6"/>
                </a:solidFill>
              </a:rPr>
              <a:t>Checklist:</a:t>
            </a:r>
          </a:p>
        </p:txBody>
      </p:sp>
      <p:sp>
        <p:nvSpPr>
          <p:cNvPr id="7" name="TextBox 6">
            <a:extLst>
              <a:ext uri="{FF2B5EF4-FFF2-40B4-BE49-F238E27FC236}">
                <a16:creationId xmlns:a16="http://schemas.microsoft.com/office/drawing/2014/main" id="{188EED42-503A-FBE7-0B38-50864BD31CFF}"/>
              </a:ext>
            </a:extLst>
          </p:cNvPr>
          <p:cNvSpPr txBox="1"/>
          <p:nvPr/>
        </p:nvSpPr>
        <p:spPr bwMode="gray">
          <a:xfrm>
            <a:off x="4518147" y="1949045"/>
            <a:ext cx="3025319" cy="246221"/>
          </a:xfrm>
          <a:prstGeom prst="rect">
            <a:avLst/>
          </a:prstGeom>
          <a:noFill/>
        </p:spPr>
        <p:txBody>
          <a:bodyPr vert="horz" wrap="square" lIns="0" tIns="0" rIns="0" bIns="0" rtlCol="0">
            <a:spAutoFit/>
          </a:bodyPr>
          <a:lstStyle/>
          <a:p>
            <a:pPr algn="l">
              <a:spcBef>
                <a:spcPts val="600"/>
              </a:spcBef>
            </a:pPr>
            <a:r>
              <a:rPr lang="en-US" sz="1600" b="1">
                <a:solidFill>
                  <a:schemeClr val="accent6"/>
                </a:solidFill>
              </a:rPr>
              <a:t>Types of Data to Use </a:t>
            </a:r>
          </a:p>
        </p:txBody>
      </p:sp>
      <p:pic>
        <p:nvPicPr>
          <p:cNvPr id="8" name="Picture 7">
            <a:extLst>
              <a:ext uri="{FF2B5EF4-FFF2-40B4-BE49-F238E27FC236}">
                <a16:creationId xmlns:a16="http://schemas.microsoft.com/office/drawing/2014/main" id="{9F7970DB-4773-E756-518C-4A220764B4E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6536169" y="1859483"/>
            <a:ext cx="455758" cy="455758"/>
          </a:xfrm>
          <a:prstGeom prst="rect">
            <a:avLst/>
          </a:prstGeom>
        </p:spPr>
      </p:pic>
      <p:pic>
        <p:nvPicPr>
          <p:cNvPr id="9" name="Picture 8">
            <a:extLst>
              <a:ext uri="{FF2B5EF4-FFF2-40B4-BE49-F238E27FC236}">
                <a16:creationId xmlns:a16="http://schemas.microsoft.com/office/drawing/2014/main" id="{12E25410-9657-22F0-330B-48287E58D7D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877307" y="1710011"/>
            <a:ext cx="449399" cy="449399"/>
          </a:xfrm>
          <a:prstGeom prst="rect">
            <a:avLst/>
          </a:prstGeom>
        </p:spPr>
      </p:pic>
    </p:spTree>
    <p:extLst>
      <p:ext uri="{BB962C8B-B14F-4D97-AF65-F5344CB8AC3E}">
        <p14:creationId xmlns:p14="http://schemas.microsoft.com/office/powerpoint/2010/main" val="39447028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1D854-387C-F333-CE72-9421705B4303}"/>
              </a:ext>
            </a:extLst>
          </p:cNvPr>
          <p:cNvSpPr>
            <a:spLocks noGrp="1"/>
          </p:cNvSpPr>
          <p:nvPr>
            <p:ph type="title" hasCustomPrompt="1"/>
          </p:nvPr>
        </p:nvSpPr>
        <p:spPr bwMode="gray">
          <a:xfrm>
            <a:off x="457198" y="826727"/>
            <a:ext cx="11457298" cy="306037"/>
          </a:xfrm>
        </p:spPr>
        <p:txBody>
          <a:bodyPr/>
          <a:lstStyle>
            <a:lvl1pPr>
              <a:defRPr/>
            </a:lvl1pPr>
          </a:lstStyle>
          <a:p>
            <a:r>
              <a:rPr lang="en-US"/>
              <a:t>Secondary data sources</a:t>
            </a:r>
          </a:p>
        </p:txBody>
      </p:sp>
      <p:sp>
        <p:nvSpPr>
          <p:cNvPr id="3" name="Content Placeholder 2">
            <a:extLst>
              <a:ext uri="{FF2B5EF4-FFF2-40B4-BE49-F238E27FC236}">
                <a16:creationId xmlns:a16="http://schemas.microsoft.com/office/drawing/2014/main" id="{D81ABC23-9DD9-2A4C-122B-F37D8CC158A1}"/>
              </a:ext>
            </a:extLst>
          </p:cNvPr>
          <p:cNvSpPr txBox="1">
            <a:spLocks/>
          </p:cNvSpPr>
          <p:nvPr/>
        </p:nvSpPr>
        <p:spPr>
          <a:xfrm>
            <a:off x="354715" y="1218200"/>
            <a:ext cx="10210801" cy="4383610"/>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Publicly available secondary data sources</a:t>
            </a: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Office for Health Improvement and Disparities: Fingertips: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2"/>
              </a:rPr>
              <a:t>Public health profiles - OHID (phe.org.uk)</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Office for National Statistics: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3"/>
              </a:rPr>
              <a:t>Home - Office for National Statistics (ons.gov.uk)</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NOMIS: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4"/>
              </a:rPr>
              <a:t>Nomis - Official Census and </a:t>
            </a:r>
            <a:r>
              <a:rPr kumimoji="0" lang="en-US" sz="1100" b="0" i="0" u="none" strike="noStrike" kern="1200" cap="none" spc="0" normalizeH="0" baseline="0" noProof="0" err="1">
                <a:ln>
                  <a:noFill/>
                </a:ln>
                <a:solidFill>
                  <a:srgbClr val="4B4D4F"/>
                </a:solidFill>
                <a:effectLst/>
                <a:uLnTx/>
                <a:uFillTx/>
                <a:latin typeface="Arial" panose="020B0604020202020204"/>
                <a:ea typeface="+mn-ea"/>
                <a:cs typeface="+mn-cs"/>
                <a:hlinkClick r:id="rId4"/>
              </a:rPr>
              <a:t>Labour</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4"/>
              </a:rPr>
              <a:t> Market Statistics (nomisweb.co.uk)</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NHS England: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5"/>
              </a:rPr>
              <a:t>Statistics » Statistical work areas (england.nhs.uk)</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NHS England: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6"/>
              </a:rPr>
              <a:t>Statistical publications, open data and data products - NHS Digital</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180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UK Data Service: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7"/>
              </a:rPr>
              <a:t>UK Data Service</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Locally available secondary data source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Contact for access or support via SWL’s Health Insights Tool: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8"/>
              </a:rPr>
              <a:t>isl.support@nhs.net</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1" i="0" u="none" strike="noStrike" kern="1200" cap="none" spc="0" normalizeH="0" baseline="0" noProof="0">
              <a:ln>
                <a:noFill/>
              </a:ln>
              <a:solidFill>
                <a:srgbClr val="00267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Measurement picklists</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9">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Trusted measures: analytical resources for integrated care”, Nuffield Trust 2018 -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9"/>
              </a:rPr>
              <a:t>https://www.nuffieldtrust.org.uk/resource/trusted-measures-analytical-resources-for-integrated-care</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Pic ‘n’ mix: an introduction to choosing and using indicators”, King’s Fund 2012 -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10"/>
              </a:rPr>
              <a:t>How to commission for improving health outcomes: an introduction to choosing and using indicators (kingsfund.org.uk)</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4" name="Rectangle 3">
            <a:hlinkClick r:id="" action="ppaction://noaction"/>
            <a:extLst>
              <a:ext uri="{FF2B5EF4-FFF2-40B4-BE49-F238E27FC236}">
                <a16:creationId xmlns:a16="http://schemas.microsoft.com/office/drawing/2014/main" id="{CEE98AC6-E37E-D76D-486B-CE1544C7D9F6}"/>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hlinkClick r:id="rId11" action="ppaction://hlinksldjump"/>
            <a:extLst>
              <a:ext uri="{FF2B5EF4-FFF2-40B4-BE49-F238E27FC236}">
                <a16:creationId xmlns:a16="http://schemas.microsoft.com/office/drawing/2014/main" id="{2EA81E4A-3770-1AE7-2943-844662F53A18}"/>
              </a:ext>
            </a:extLst>
          </p:cNvPr>
          <p:cNvSpPr/>
          <p:nvPr/>
        </p:nvSpPr>
        <p:spPr bwMode="gray">
          <a:xfrm>
            <a:off x="1126346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FFC50336-A053-8A2A-4CF3-1C50F589B10A}"/>
              </a:ext>
            </a:extLst>
          </p:cNvPr>
          <p:cNvGrpSpPr/>
          <p:nvPr/>
        </p:nvGrpSpPr>
        <p:grpSpPr>
          <a:xfrm>
            <a:off x="10924563" y="629617"/>
            <a:ext cx="1013429" cy="908482"/>
            <a:chOff x="10869414" y="744375"/>
            <a:chExt cx="1013429" cy="908482"/>
          </a:xfrm>
        </p:grpSpPr>
        <p:sp>
          <p:nvSpPr>
            <p:cNvPr id="7" name="Flowchart: Connector 6">
              <a:extLst>
                <a:ext uri="{FF2B5EF4-FFF2-40B4-BE49-F238E27FC236}">
                  <a16:creationId xmlns:a16="http://schemas.microsoft.com/office/drawing/2014/main" id="{5E59A524-0859-96C2-4C08-CA0DCBBD590E}"/>
                </a:ext>
              </a:extLst>
            </p:cNvPr>
            <p:cNvSpPr/>
            <p:nvPr/>
          </p:nvSpPr>
          <p:spPr bwMode="gray">
            <a:xfrm>
              <a:off x="10869414" y="744375"/>
              <a:ext cx="1013429" cy="908482"/>
            </a:xfrm>
            <a:prstGeom prst="flowChartConnector">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002677"/>
                  </a:solidFill>
                  <a:effectLst/>
                  <a:uLnTx/>
                  <a:uFillTx/>
                  <a:latin typeface="Arial" panose="020B0604020202020204"/>
                  <a:ea typeface="+mn-ea"/>
                  <a:cs typeface="+mn-cs"/>
                </a:rPr>
                <a:t>Access the Evaluation Toolkit </a:t>
              </a:r>
              <a:r>
                <a:rPr kumimoji="0" lang="en-US" sz="900" b="0" i="0" u="none" strike="noStrike" kern="1200" cap="none" spc="0" normalizeH="0" baseline="0" noProof="0">
                  <a:ln>
                    <a:noFill/>
                  </a:ln>
                  <a:solidFill>
                    <a:srgbClr val="002677"/>
                  </a:solidFill>
                  <a:effectLst/>
                  <a:uLnTx/>
                  <a:uFillTx/>
                  <a:latin typeface="Arial" panose="020B0604020202020204"/>
                  <a:ea typeface="+mn-ea"/>
                  <a:cs typeface="+mn-cs"/>
                  <a:hlinkClick r:id="rId12"/>
                </a:rPr>
                <a:t>here </a:t>
              </a:r>
              <a:endParaRPr kumimoji="0" lang="en-US" sz="900" b="0" i="0" u="none" strike="noStrike" kern="1200" cap="none" spc="0" normalizeH="0" baseline="0" noProof="0">
                <a:ln>
                  <a:noFill/>
                </a:ln>
                <a:solidFill>
                  <a:srgbClr val="002677"/>
                </a:solidFill>
                <a:effectLst/>
                <a:uLnTx/>
                <a:uFillTx/>
                <a:latin typeface="Arial" panose="020B0604020202020204"/>
                <a:ea typeface="+mn-ea"/>
                <a:cs typeface="+mn-cs"/>
              </a:endParaRPr>
            </a:p>
          </p:txBody>
        </p:sp>
        <p:pic>
          <p:nvPicPr>
            <p:cNvPr id="8" name="Picture 7">
              <a:extLst>
                <a:ext uri="{FF2B5EF4-FFF2-40B4-BE49-F238E27FC236}">
                  <a16:creationId xmlns:a16="http://schemas.microsoft.com/office/drawing/2014/main" id="{1F06E437-BD28-B993-FE27-A057074D8CC6}"/>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bwMode="gray">
            <a:xfrm>
              <a:off x="11543776" y="1213778"/>
              <a:ext cx="238360" cy="238360"/>
            </a:xfrm>
            <a:prstGeom prst="rect">
              <a:avLst/>
            </a:prstGeom>
          </p:spPr>
        </p:pic>
      </p:grpSp>
    </p:spTree>
    <p:extLst>
      <p:ext uri="{BB962C8B-B14F-4D97-AF65-F5344CB8AC3E}">
        <p14:creationId xmlns:p14="http://schemas.microsoft.com/office/powerpoint/2010/main" val="7241396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04FF0-2F10-4CA2-E78D-1DF476DBD874}"/>
              </a:ext>
            </a:extLst>
          </p:cNvPr>
          <p:cNvSpPr>
            <a:spLocks noGrp="1"/>
          </p:cNvSpPr>
          <p:nvPr>
            <p:ph type="title" hasCustomPrompt="1"/>
          </p:nvPr>
        </p:nvSpPr>
        <p:spPr bwMode="gray">
          <a:xfrm>
            <a:off x="457198" y="826727"/>
            <a:ext cx="11457298" cy="306037"/>
          </a:xfrm>
        </p:spPr>
        <p:txBody>
          <a:bodyPr/>
          <a:lstStyle>
            <a:lvl1pPr>
              <a:defRPr/>
            </a:lvl1pPr>
          </a:lstStyle>
          <a:p>
            <a:r>
              <a:rPr lang="en-US"/>
              <a:t>Quantitative measures</a:t>
            </a:r>
          </a:p>
        </p:txBody>
      </p:sp>
      <p:sp>
        <p:nvSpPr>
          <p:cNvPr id="4" name="TextBox 3">
            <a:extLst>
              <a:ext uri="{FF2B5EF4-FFF2-40B4-BE49-F238E27FC236}">
                <a16:creationId xmlns:a16="http://schemas.microsoft.com/office/drawing/2014/main" id="{C78DD60C-5DEF-DC39-E270-A74E8D0B3881}"/>
              </a:ext>
            </a:extLst>
          </p:cNvPr>
          <p:cNvSpPr txBox="1"/>
          <p:nvPr/>
        </p:nvSpPr>
        <p:spPr bwMode="gray">
          <a:xfrm>
            <a:off x="369111" y="1331339"/>
            <a:ext cx="8609519"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Focus on what and how many (numeric), include administrative sources such as Hospital Episode Statistics/Secondary Uses Service, GP practice data, surveys, questionnaires and structured interviews. </a:t>
            </a:r>
          </a:p>
        </p:txBody>
      </p:sp>
      <p:graphicFrame>
        <p:nvGraphicFramePr>
          <p:cNvPr id="5" name="Table 4">
            <a:extLst>
              <a:ext uri="{FF2B5EF4-FFF2-40B4-BE49-F238E27FC236}">
                <a16:creationId xmlns:a16="http://schemas.microsoft.com/office/drawing/2014/main" id="{25550770-BAB3-C0CB-3547-2A40C514B3AD}"/>
              </a:ext>
            </a:extLst>
          </p:cNvPr>
          <p:cNvGraphicFramePr>
            <a:graphicFrameLocks noGrp="1"/>
          </p:cNvGraphicFramePr>
          <p:nvPr/>
        </p:nvGraphicFramePr>
        <p:xfrm>
          <a:off x="457199" y="1960801"/>
          <a:ext cx="11366502" cy="4086146"/>
        </p:xfrm>
        <a:graphic>
          <a:graphicData uri="http://schemas.openxmlformats.org/drawingml/2006/table">
            <a:tbl>
              <a:tblPr firstRow="1" bandRow="1">
                <a:tableStyleId>{68D230F3-CF80-4859-8CE7-A43EE81993B5}</a:tableStyleId>
              </a:tblPr>
              <a:tblGrid>
                <a:gridCol w="1414554">
                  <a:extLst>
                    <a:ext uri="{9D8B030D-6E8A-4147-A177-3AD203B41FA5}">
                      <a16:colId xmlns:a16="http://schemas.microsoft.com/office/drawing/2014/main" val="1561330373"/>
                    </a:ext>
                  </a:extLst>
                </a:gridCol>
                <a:gridCol w="3424147">
                  <a:extLst>
                    <a:ext uri="{9D8B030D-6E8A-4147-A177-3AD203B41FA5}">
                      <a16:colId xmlns:a16="http://schemas.microsoft.com/office/drawing/2014/main" val="2533435423"/>
                    </a:ext>
                  </a:extLst>
                </a:gridCol>
                <a:gridCol w="3568700">
                  <a:extLst>
                    <a:ext uri="{9D8B030D-6E8A-4147-A177-3AD203B41FA5}">
                      <a16:colId xmlns:a16="http://schemas.microsoft.com/office/drawing/2014/main" val="3559394051"/>
                    </a:ext>
                  </a:extLst>
                </a:gridCol>
                <a:gridCol w="2959101">
                  <a:extLst>
                    <a:ext uri="{9D8B030D-6E8A-4147-A177-3AD203B41FA5}">
                      <a16:colId xmlns:a16="http://schemas.microsoft.com/office/drawing/2014/main" val="2061072492"/>
                    </a:ext>
                  </a:extLst>
                </a:gridCol>
              </a:tblGrid>
              <a:tr h="176805">
                <a:tc>
                  <a:txBody>
                    <a:bodyPr/>
                    <a:lstStyle/>
                    <a:p>
                      <a:r>
                        <a:rPr lang="en-GB" sz="1000">
                          <a:solidFill>
                            <a:schemeClr val="bg1"/>
                          </a:solidFill>
                        </a:rPr>
                        <a:t>Type of measure</a:t>
                      </a:r>
                      <a:endParaRPr lang="en-US" sz="1000">
                        <a:solidFill>
                          <a:schemeClr val="bg1"/>
                        </a:solidFill>
                      </a:endParaRPr>
                    </a:p>
                  </a:txBody>
                  <a:tcPr>
                    <a:solidFill>
                      <a:schemeClr val="accent6"/>
                    </a:solidFill>
                  </a:tcPr>
                </a:tc>
                <a:tc>
                  <a:txBody>
                    <a:bodyPr/>
                    <a:lstStyle/>
                    <a:p>
                      <a:r>
                        <a:rPr lang="en-GB" sz="1000">
                          <a:solidFill>
                            <a:schemeClr val="bg1"/>
                          </a:solidFill>
                        </a:rPr>
                        <a:t>Example</a:t>
                      </a:r>
                      <a:endParaRPr lang="en-US" sz="1000">
                        <a:solidFill>
                          <a:schemeClr val="bg1"/>
                        </a:solidFill>
                      </a:endParaRPr>
                    </a:p>
                  </a:txBody>
                  <a:tcPr>
                    <a:solidFill>
                      <a:schemeClr val="accent6"/>
                    </a:solidFill>
                  </a:tcPr>
                </a:tc>
                <a:tc>
                  <a:txBody>
                    <a:bodyPr/>
                    <a:lstStyle/>
                    <a:p>
                      <a:r>
                        <a:rPr lang="en-GB" sz="1000">
                          <a:solidFill>
                            <a:schemeClr val="bg1"/>
                          </a:solidFill>
                        </a:rPr>
                        <a:t>Pros</a:t>
                      </a:r>
                      <a:endParaRPr lang="en-US" sz="1000">
                        <a:solidFill>
                          <a:schemeClr val="bg1"/>
                        </a:solidFill>
                      </a:endParaRPr>
                    </a:p>
                  </a:txBody>
                  <a:tcPr>
                    <a:solidFill>
                      <a:schemeClr val="accent6"/>
                    </a:solidFill>
                  </a:tcPr>
                </a:tc>
                <a:tc>
                  <a:txBody>
                    <a:bodyPr/>
                    <a:lstStyle/>
                    <a:p>
                      <a:r>
                        <a:rPr lang="en-GB" sz="1000">
                          <a:solidFill>
                            <a:schemeClr val="bg1"/>
                          </a:solidFill>
                        </a:rPr>
                        <a:t>Cons</a:t>
                      </a:r>
                      <a:endParaRPr lang="en-US" sz="1000">
                        <a:solidFill>
                          <a:schemeClr val="bg1"/>
                        </a:solidFill>
                      </a:endParaRPr>
                    </a:p>
                  </a:txBody>
                  <a:tcPr>
                    <a:solidFill>
                      <a:schemeClr val="accent6"/>
                    </a:solidFill>
                  </a:tcPr>
                </a:tc>
                <a:extLst>
                  <a:ext uri="{0D108BD9-81ED-4DB2-BD59-A6C34878D82A}">
                    <a16:rowId xmlns:a16="http://schemas.microsoft.com/office/drawing/2014/main" val="2080450387"/>
                  </a:ext>
                </a:extLst>
              </a:tr>
              <a:tr h="508314">
                <a:tc>
                  <a:txBody>
                    <a:bodyPr/>
                    <a:lstStyle/>
                    <a:p>
                      <a:r>
                        <a:rPr lang="en-GB" sz="1000" b="1"/>
                        <a:t>Counts</a:t>
                      </a:r>
                      <a:endParaRPr lang="en-US" sz="1000"/>
                    </a:p>
                  </a:txBody>
                  <a:tcPr>
                    <a:solidFill>
                      <a:schemeClr val="bg1">
                        <a:lumMod val="95000"/>
                      </a:schemeClr>
                    </a:solidFill>
                  </a:tcPr>
                </a:tc>
                <a:tc>
                  <a:txBody>
                    <a:bodyPr/>
                    <a:lstStyle/>
                    <a:p>
                      <a:r>
                        <a:rPr lang="en-GB" sz="1000"/>
                        <a:t>The number of people attending a chair-based exercise class per month</a:t>
                      </a:r>
                      <a:endParaRPr lang="en-US" sz="1000"/>
                    </a:p>
                  </a:txBody>
                  <a:tcPr>
                    <a:solidFill>
                      <a:schemeClr val="bg1">
                        <a:lumMod val="95000"/>
                      </a:schemeClr>
                    </a:solidFill>
                  </a:tcPr>
                </a:tc>
                <a:tc>
                  <a:txBody>
                    <a:bodyPr/>
                    <a:lstStyle/>
                    <a:p>
                      <a:r>
                        <a:rPr lang="en-GB" sz="1000"/>
                        <a:t>Simple to understand</a:t>
                      </a:r>
                      <a:endParaRPr lang="en-US" sz="1000"/>
                    </a:p>
                  </a:txBody>
                  <a:tcPr>
                    <a:solidFill>
                      <a:schemeClr val="bg1">
                        <a:lumMod val="95000"/>
                      </a:schemeClr>
                    </a:solidFill>
                  </a:tcPr>
                </a:tc>
                <a:tc>
                  <a:txBody>
                    <a:bodyPr/>
                    <a:lstStyle/>
                    <a:p>
                      <a:r>
                        <a:rPr lang="en-GB" sz="1000"/>
                        <a:t>Makes comparison over time or between populations more difficult, especially if your denominator (e.g., population size or number of hospital beds) varies </a:t>
                      </a:r>
                      <a:endParaRPr lang="en-US" sz="1000"/>
                    </a:p>
                  </a:txBody>
                  <a:tcPr>
                    <a:solidFill>
                      <a:schemeClr val="bg1">
                        <a:lumMod val="95000"/>
                      </a:schemeClr>
                    </a:solidFill>
                  </a:tcPr>
                </a:tc>
                <a:extLst>
                  <a:ext uri="{0D108BD9-81ED-4DB2-BD59-A6C34878D82A}">
                    <a16:rowId xmlns:a16="http://schemas.microsoft.com/office/drawing/2014/main" val="2314784845"/>
                  </a:ext>
                </a:extLst>
              </a:tr>
              <a:tr h="397811">
                <a:tc>
                  <a:txBody>
                    <a:bodyPr/>
                    <a:lstStyle/>
                    <a:p>
                      <a:r>
                        <a:rPr lang="en-GB" sz="1000" b="1"/>
                        <a:t>Rates</a:t>
                      </a:r>
                      <a:endParaRPr lang="en-US" sz="1000"/>
                    </a:p>
                  </a:txBody>
                  <a:tcPr/>
                </a:tc>
                <a:tc>
                  <a:txBody>
                    <a:bodyPr/>
                    <a:lstStyle/>
                    <a:p>
                      <a:r>
                        <a:rPr lang="en-GB" sz="1000"/>
                        <a:t>The number of people A&amp;E attendances per 1,000 population </a:t>
                      </a:r>
                      <a:endParaRPr lang="en-US" sz="1000"/>
                    </a:p>
                  </a:txBody>
                  <a:tcPr/>
                </a:tc>
                <a:tc>
                  <a:txBody>
                    <a:bodyPr/>
                    <a:lstStyle/>
                    <a:p>
                      <a:r>
                        <a:rPr lang="en-GB" sz="1000"/>
                        <a:t>Allow comparison over time and between population groups</a:t>
                      </a:r>
                      <a:endParaRPr lang="en-US" sz="1000"/>
                    </a:p>
                  </a:txBody>
                  <a:tcPr/>
                </a:tc>
                <a:tc>
                  <a:txBody>
                    <a:bodyPr/>
                    <a:lstStyle/>
                    <a:p>
                      <a:r>
                        <a:rPr lang="en-GB" sz="1000"/>
                        <a:t>Need to be calculated</a:t>
                      </a:r>
                    </a:p>
                    <a:p>
                      <a:r>
                        <a:rPr lang="en-GB" sz="1000"/>
                        <a:t>You need to know the total population size to convert back to a count</a:t>
                      </a:r>
                      <a:endParaRPr lang="en-US" sz="1000"/>
                    </a:p>
                  </a:txBody>
                  <a:tcPr/>
                </a:tc>
                <a:extLst>
                  <a:ext uri="{0D108BD9-81ED-4DB2-BD59-A6C34878D82A}">
                    <a16:rowId xmlns:a16="http://schemas.microsoft.com/office/drawing/2014/main" val="3289297242"/>
                  </a:ext>
                </a:extLst>
              </a:tr>
              <a:tr h="397811">
                <a:tc>
                  <a:txBody>
                    <a:bodyPr/>
                    <a:lstStyle/>
                    <a:p>
                      <a:r>
                        <a:rPr lang="en-GB" sz="1000" b="1"/>
                        <a:t>Ratios</a:t>
                      </a:r>
                      <a:endParaRPr lang="en-US" sz="1000"/>
                    </a:p>
                  </a:txBody>
                  <a:tcPr>
                    <a:solidFill>
                      <a:schemeClr val="bg1">
                        <a:lumMod val="95000"/>
                      </a:schemeClr>
                    </a:solidFill>
                  </a:tcPr>
                </a:tc>
                <a:tc>
                  <a:txBody>
                    <a:bodyPr/>
                    <a:lstStyle/>
                    <a:p>
                      <a:r>
                        <a:rPr lang="en-GB" sz="1000"/>
                        <a:t>Standardised mortality ratio: observed mortality:                                              expected mortality</a:t>
                      </a:r>
                      <a:endParaRPr lang="en-US" sz="100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They are easy to interpret and to calculate and illustrate the relative quantity of one item in relation to another of the same units</a:t>
                      </a:r>
                      <a:endParaRPr lang="en-US" sz="1000"/>
                    </a:p>
                  </a:txBody>
                  <a:tcPr>
                    <a:solidFill>
                      <a:schemeClr val="bg1">
                        <a:lumMod val="95000"/>
                      </a:schemeClr>
                    </a:solidFill>
                  </a:tcPr>
                </a:tc>
                <a:tc>
                  <a:txBody>
                    <a:bodyPr/>
                    <a:lstStyle/>
                    <a:p>
                      <a:r>
                        <a:rPr lang="en-GB" sz="1000"/>
                        <a:t>The units must be the same on both sides of the ratio i.e., number of available hospital beds to the number of occupied hospital beds</a:t>
                      </a:r>
                      <a:endParaRPr lang="en-US" sz="1000"/>
                    </a:p>
                  </a:txBody>
                  <a:tcPr>
                    <a:solidFill>
                      <a:schemeClr val="bg1">
                        <a:lumMod val="95000"/>
                      </a:schemeClr>
                    </a:solidFill>
                  </a:tcPr>
                </a:tc>
                <a:extLst>
                  <a:ext uri="{0D108BD9-81ED-4DB2-BD59-A6C34878D82A}">
                    <a16:rowId xmlns:a16="http://schemas.microsoft.com/office/drawing/2014/main" val="329222656"/>
                  </a:ext>
                </a:extLst>
              </a:tr>
              <a:tr h="287308">
                <a:tc>
                  <a:txBody>
                    <a:bodyPr/>
                    <a:lstStyle/>
                    <a:p>
                      <a:r>
                        <a:rPr lang="en-GB" sz="1000" b="1"/>
                        <a:t>Percentages</a:t>
                      </a:r>
                      <a:endParaRPr lang="en-US" sz="1000"/>
                    </a:p>
                  </a:txBody>
                  <a:tcPr/>
                </a:tc>
                <a:tc>
                  <a:txBody>
                    <a:bodyPr/>
                    <a:lstStyle/>
                    <a:p>
                      <a:r>
                        <a:rPr lang="en-GB" sz="1000"/>
                        <a:t>The percentage of people aged 25-34 who were admitted to hospital in the last 12 months</a:t>
                      </a:r>
                      <a:endParaRPr lang="en-US" sz="1000"/>
                    </a:p>
                  </a:txBody>
                  <a:tcPr/>
                </a:tc>
                <a:tc>
                  <a:txBody>
                    <a:bodyPr/>
                    <a:lstStyle/>
                    <a:p>
                      <a:r>
                        <a:rPr lang="en-GB" sz="1000"/>
                        <a:t>Allow comparison over time and between population groups</a:t>
                      </a:r>
                      <a:endParaRPr lang="en-US" sz="1000"/>
                    </a:p>
                  </a:txBody>
                  <a:tcPr/>
                </a:tc>
                <a:tc>
                  <a:txBody>
                    <a:bodyPr/>
                    <a:lstStyle/>
                    <a:p>
                      <a:r>
                        <a:rPr lang="en-GB" sz="1000"/>
                        <a:t>Need to be calculated and the numerator and denominator are not obvious</a:t>
                      </a:r>
                      <a:endParaRPr lang="en-US" sz="1000"/>
                    </a:p>
                  </a:txBody>
                  <a:tcPr/>
                </a:tc>
                <a:extLst>
                  <a:ext uri="{0D108BD9-81ED-4DB2-BD59-A6C34878D82A}">
                    <a16:rowId xmlns:a16="http://schemas.microsoft.com/office/drawing/2014/main" val="3274896097"/>
                  </a:ext>
                </a:extLst>
              </a:tr>
              <a:tr h="245666">
                <a:tc>
                  <a:txBody>
                    <a:bodyPr/>
                    <a:lstStyle/>
                    <a:p>
                      <a:r>
                        <a:rPr lang="en-GB" sz="1000" b="1"/>
                        <a:t>Averages</a:t>
                      </a:r>
                      <a:endParaRPr lang="en-US" sz="1000" b="1"/>
                    </a:p>
                  </a:txBody>
                  <a:tcPr>
                    <a:solidFill>
                      <a:schemeClr val="bg1">
                        <a:lumMod val="95000"/>
                      </a:schemeClr>
                    </a:solidFill>
                  </a:tcPr>
                </a:tc>
                <a:tc>
                  <a:txBody>
                    <a:bodyPr/>
                    <a:lstStyle/>
                    <a:p>
                      <a:r>
                        <a:rPr lang="en-GB" sz="1000"/>
                        <a:t>The number of GP appointments per patient per year</a:t>
                      </a:r>
                      <a:endParaRPr lang="en-US" sz="100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Allow comparison over time and between population groups</a:t>
                      </a:r>
                      <a:endParaRPr lang="en-US" sz="1000"/>
                    </a:p>
                  </a:txBody>
                  <a:tcPr>
                    <a:solidFill>
                      <a:schemeClr val="bg1">
                        <a:lumMod val="95000"/>
                      </a:schemeClr>
                    </a:solidFill>
                  </a:tcPr>
                </a:tc>
                <a:tc>
                  <a:txBody>
                    <a:bodyPr/>
                    <a:lstStyle/>
                    <a:p>
                      <a:r>
                        <a:rPr lang="en-GB" sz="1000"/>
                        <a:t>Need to be calculated </a:t>
                      </a:r>
                      <a:endParaRPr lang="en-US" sz="1000"/>
                    </a:p>
                  </a:txBody>
                  <a:tcPr>
                    <a:solidFill>
                      <a:schemeClr val="bg1">
                        <a:lumMod val="95000"/>
                      </a:schemeClr>
                    </a:solidFill>
                  </a:tcPr>
                </a:tc>
                <a:extLst>
                  <a:ext uri="{0D108BD9-81ED-4DB2-BD59-A6C34878D82A}">
                    <a16:rowId xmlns:a16="http://schemas.microsoft.com/office/drawing/2014/main" val="2297624835"/>
                  </a:ext>
                </a:extLst>
              </a:tr>
              <a:tr h="434640">
                <a:tc>
                  <a:txBody>
                    <a:bodyPr/>
                    <a:lstStyle/>
                    <a:p>
                      <a:r>
                        <a:rPr lang="en-US" sz="1000" b="1"/>
                        <a:t>Process measures</a:t>
                      </a:r>
                    </a:p>
                    <a:p>
                      <a:endParaRPr lang="en-US" sz="1000" b="1"/>
                    </a:p>
                  </a:txBody>
                  <a:tcPr/>
                </a:tc>
                <a:tc>
                  <a:txBody>
                    <a:bodyPr/>
                    <a:lstStyle/>
                    <a:p>
                      <a:r>
                        <a:rPr lang="en-GB" sz="1000"/>
                        <a:t>These are also known as outputs and capture activities or things that are created through a service or intervention e.g., the number of care plans that were created</a:t>
                      </a:r>
                      <a:endParaRPr lang="en-US" sz="10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Help to identify that an intervention is live and to determine which patients are in receipt of the intervention. The type of measurement typically falls into one of the five above.</a:t>
                      </a:r>
                      <a:endParaRPr lang="en-US" sz="1000"/>
                    </a:p>
                  </a:txBody>
                  <a:tcPr/>
                </a:tc>
                <a:tc>
                  <a:txBody>
                    <a:bodyPr/>
                    <a:lstStyle/>
                    <a:p>
                      <a:r>
                        <a:rPr lang="en-GB" sz="1000"/>
                        <a:t>Do not represent outcomes in and of themselves</a:t>
                      </a:r>
                      <a:endParaRPr lang="en-US" sz="1000"/>
                    </a:p>
                  </a:txBody>
                  <a:tcPr/>
                </a:tc>
                <a:extLst>
                  <a:ext uri="{0D108BD9-81ED-4DB2-BD59-A6C34878D82A}">
                    <a16:rowId xmlns:a16="http://schemas.microsoft.com/office/drawing/2014/main" val="3069340522"/>
                  </a:ext>
                </a:extLst>
              </a:tr>
              <a:tr h="618817">
                <a:tc>
                  <a:txBody>
                    <a:bodyPr/>
                    <a:lstStyle/>
                    <a:p>
                      <a:r>
                        <a:rPr lang="en-GB" sz="1000" b="1"/>
                        <a:t>Outcome measures</a:t>
                      </a:r>
                      <a:endParaRPr lang="en-US" sz="1000" b="1"/>
                    </a:p>
                  </a:txBody>
                  <a:tcPr>
                    <a:solidFill>
                      <a:schemeClr val="bg1">
                        <a:lumMod val="95000"/>
                      </a:schemeClr>
                    </a:solidFill>
                  </a:tcPr>
                </a:tc>
                <a:tc>
                  <a:txBody>
                    <a:bodyPr/>
                    <a:lstStyle/>
                    <a:p>
                      <a:r>
                        <a:rPr lang="en-GB" sz="1000"/>
                        <a:t>The intended outcomes of the intervention should align to the goals and objectives of your programme e.g., reduction in A&amp;E attendances for diabetic patients (the process measure, HBA1C levels, is distinct from the outcome measure for this intervention)</a:t>
                      </a:r>
                      <a:endParaRPr lang="en-US" sz="100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Indicates whether the intervention has delivered an intended outcome. The type of measurement typically falls into one of the five above.</a:t>
                      </a:r>
                      <a:endParaRPr lang="en-US" sz="1000"/>
                    </a:p>
                  </a:txBody>
                  <a:tcPr>
                    <a:solidFill>
                      <a:schemeClr val="bg1">
                        <a:lumMod val="95000"/>
                      </a:schemeClr>
                    </a:solidFill>
                  </a:tcPr>
                </a:tc>
                <a:tc>
                  <a:txBody>
                    <a:bodyPr/>
                    <a:lstStyle/>
                    <a:p>
                      <a:r>
                        <a:rPr lang="en-GB" sz="1000"/>
                        <a:t>The challenge is attributing an outcome measure as a true outcome of your intervention i.e., it was caused by your intervention and would not have occurred without the intervention</a:t>
                      </a:r>
                      <a:endParaRPr lang="en-US" sz="1000"/>
                    </a:p>
                  </a:txBody>
                  <a:tcPr>
                    <a:solidFill>
                      <a:schemeClr val="bg1">
                        <a:lumMod val="95000"/>
                      </a:schemeClr>
                    </a:solidFill>
                  </a:tcPr>
                </a:tc>
                <a:extLst>
                  <a:ext uri="{0D108BD9-81ED-4DB2-BD59-A6C34878D82A}">
                    <a16:rowId xmlns:a16="http://schemas.microsoft.com/office/drawing/2014/main" val="727535279"/>
                  </a:ext>
                </a:extLst>
              </a:tr>
            </a:tbl>
          </a:graphicData>
        </a:graphic>
      </p:graphicFrame>
      <p:sp>
        <p:nvSpPr>
          <p:cNvPr id="3" name="Rectangle 2">
            <a:hlinkClick r:id="rId2" action="ppaction://hlinksldjump"/>
            <a:extLst>
              <a:ext uri="{FF2B5EF4-FFF2-40B4-BE49-F238E27FC236}">
                <a16:creationId xmlns:a16="http://schemas.microsoft.com/office/drawing/2014/main" id="{8FA3583C-3CDD-C2F2-494B-67ED5B5BC723}"/>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hlinkClick r:id="rId3" action="ppaction://hlinksldjump"/>
            <a:extLst>
              <a:ext uri="{FF2B5EF4-FFF2-40B4-BE49-F238E27FC236}">
                <a16:creationId xmlns:a16="http://schemas.microsoft.com/office/drawing/2014/main" id="{FED139D9-FFA0-24F9-E5D8-08B0A57C8428}"/>
              </a:ext>
            </a:extLst>
          </p:cNvPr>
          <p:cNvSpPr/>
          <p:nvPr/>
        </p:nvSpPr>
        <p:spPr bwMode="gray">
          <a:xfrm>
            <a:off x="11281215"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8337324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7ABD413-5310-8DBF-2B53-3B2E4E8E13EF}"/>
              </a:ext>
            </a:extLst>
          </p:cNvPr>
          <p:cNvSpPr/>
          <p:nvPr/>
        </p:nvSpPr>
        <p:spPr bwMode="gray">
          <a:xfrm>
            <a:off x="7344383" y="1491954"/>
            <a:ext cx="4847617" cy="4172246"/>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7E4C97B9-B7C6-3BA2-D255-8079318AFEF0}"/>
              </a:ext>
            </a:extLst>
          </p:cNvPr>
          <p:cNvSpPr>
            <a:spLocks noGrp="1"/>
          </p:cNvSpPr>
          <p:nvPr>
            <p:ph type="title" hasCustomPrompt="1"/>
          </p:nvPr>
        </p:nvSpPr>
        <p:spPr bwMode="gray">
          <a:xfrm>
            <a:off x="457198" y="826727"/>
            <a:ext cx="11457298" cy="306037"/>
          </a:xfrm>
        </p:spPr>
        <p:txBody>
          <a:bodyPr/>
          <a:lstStyle>
            <a:lvl1pPr>
              <a:defRPr/>
            </a:lvl1pPr>
          </a:lstStyle>
          <a:p>
            <a:r>
              <a:rPr lang="en-US"/>
              <a:t>Using surveys to collect quantitative data – principles and consideration</a:t>
            </a:r>
          </a:p>
        </p:txBody>
      </p:sp>
      <p:sp>
        <p:nvSpPr>
          <p:cNvPr id="3" name="TextBox 2">
            <a:extLst>
              <a:ext uri="{FF2B5EF4-FFF2-40B4-BE49-F238E27FC236}">
                <a16:creationId xmlns:a16="http://schemas.microsoft.com/office/drawing/2014/main" id="{A8F1A0A1-D54F-9912-DDFA-418FB9D5B1C7}"/>
              </a:ext>
            </a:extLst>
          </p:cNvPr>
          <p:cNvSpPr txBox="1"/>
          <p:nvPr/>
        </p:nvSpPr>
        <p:spPr bwMode="gray">
          <a:xfrm>
            <a:off x="457198" y="1690134"/>
            <a:ext cx="6089518" cy="3785652"/>
          </a:xfrm>
          <a:prstGeom prst="rect">
            <a:avLst/>
          </a:prstGeom>
          <a:noFill/>
        </p:spPr>
        <p:txBody>
          <a:bodyPr vert="horz" wrap="square" lIns="0" tIns="0" rIns="0" bIns="0" rtlCol="0">
            <a:spAutoFit/>
          </a:bodyPr>
          <a:lstStyle/>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Decide on how the survey will be administered e.g., online, by email, on mobile/device, on paper, interview led in person or over telephone</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If digitally administered, think about the software you will use</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Be clear on the purpose of the survey</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Begin the survey with more straightforward questions that ease the respondent in</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Ensure that every question relates to the overarching purpose </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Design clear, concise and neutral questions</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Make sure that all questions are direct and not convoluted</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ry to avoid asking for two things in the same question</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ry and use response scales where possible as these capture the intensity and direction of the response </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Response scales should be balanced with equal number of response that are positive or negative e.g., excellent, very good, poor, very poor </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Avoid yes/no and other binary type questions that limit the amount of data you collect</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Keep the survey as short as possible </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Consider pre-testing the survey before administering to your target population</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2743396C-2BE2-2498-9102-C5C7D82AC891}"/>
              </a:ext>
            </a:extLst>
          </p:cNvPr>
          <p:cNvSpPr txBox="1"/>
          <p:nvPr/>
        </p:nvSpPr>
        <p:spPr bwMode="gray">
          <a:xfrm>
            <a:off x="7214031" y="2474965"/>
            <a:ext cx="3873500" cy="2031325"/>
          </a:xfrm>
          <a:prstGeom prst="rect">
            <a:avLst/>
          </a:prstGeom>
          <a:noFill/>
        </p:spPr>
        <p:txBody>
          <a:bodyPr wrap="square">
            <a:spAutoFit/>
          </a:bodyPr>
          <a:lstStyle/>
          <a:p>
            <a:pPr marL="457200" marR="0" lvl="1"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002677"/>
                </a:solidFill>
                <a:effectLst/>
                <a:uLnTx/>
                <a:uFillTx/>
                <a:latin typeface="Arial" panose="020B0604020202020204"/>
                <a:ea typeface="+mn-ea"/>
                <a:cs typeface="+mn-cs"/>
              </a:rPr>
              <a:t>Further reading</a:t>
            </a:r>
          </a:p>
          <a:p>
            <a:pPr marL="457200" marR="0" lvl="1" indent="0" algn="l" defTabSz="914400" rtl="0" eaLnBrk="1" fontAlgn="auto" latinLnBrk="0" hangingPunct="1">
              <a:lnSpc>
                <a:spcPct val="100000"/>
              </a:lnSpc>
              <a:spcBef>
                <a:spcPts val="600"/>
              </a:spcBef>
              <a:spcAft>
                <a:spcPts val="1200"/>
              </a:spcAft>
              <a:buClrTx/>
              <a:buSzTx/>
              <a:buFontTx/>
              <a:buNone/>
              <a:tabLst/>
              <a:defRPr/>
            </a:pP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Writing an effective questionnaire’ </a:t>
            </a:r>
            <a:b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b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 NHS England</a:t>
            </a:r>
            <a:b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br>
            <a:r>
              <a:rPr kumimoji="0" lang="en-US" sz="1100" b="0" i="0" u="none" strike="noStrike" kern="1200" cap="none" spc="0" normalizeH="0" baseline="0" noProof="0">
                <a:ln>
                  <a:noFill/>
                </a:ln>
                <a:solidFill>
                  <a:srgbClr val="0C55B8"/>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bitesize-guide-writing-an-effective-questionnaire</a:t>
            </a: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pdf (england.nhs.uk)</a:t>
            </a: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 </a:t>
            </a:r>
          </a:p>
          <a:p>
            <a:pPr marL="457200" marR="0" lvl="1"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Guide to evaluation design, principles and practice’ </a:t>
            </a:r>
            <a:b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b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 Midlands Decision Support Unit</a:t>
            </a:r>
            <a:b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br>
            <a:r>
              <a:rPr lang="en-US" sz="1100">
                <a:solidFill>
                  <a:srgbClr val="002677"/>
                </a:solidFill>
                <a:latin typeface="Arial" panose="020B0604020202020204"/>
                <a:hlinkClick r:id="rId3">
                  <a:extLst>
                    <a:ext uri="{A12FA001-AC4F-418D-AE19-62706E023703}">
                      <ahyp:hlinkClr xmlns:ahyp="http://schemas.microsoft.com/office/drawing/2018/hyperlinkcolor" val="tx"/>
                    </a:ext>
                  </a:extLst>
                </a:hlinkClick>
              </a:rPr>
              <a:t>Guide to </a:t>
            </a: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Questionnaires for Service Evaluation - Evaluation Works (nhsevaluationtoolkit.net)</a:t>
            </a:r>
            <a:endParaRPr kumimoji="0" lang="en-US" sz="1100" b="0" i="0" u="none" strike="noStrike" kern="1200" cap="none" spc="0" normalizeH="0" baseline="0" noProof="0">
              <a:ln>
                <a:noFill/>
              </a:ln>
              <a:solidFill>
                <a:srgbClr val="002677"/>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AA5DAD90-861D-5AF1-74EA-A8AB2EB9F847}"/>
              </a:ext>
            </a:extLst>
          </p:cNvPr>
          <p:cNvPicPr>
            <a:picLocks noChangeAspect="1"/>
          </p:cNvPicPr>
          <p:nvPr/>
        </p:nvPicPr>
        <p:blipFill>
          <a:blip r:embed="rId4"/>
          <a:srcRect/>
          <a:stretch/>
        </p:blipFill>
        <p:spPr bwMode="gray">
          <a:xfrm>
            <a:off x="7715627" y="1695000"/>
            <a:ext cx="664211" cy="664211"/>
          </a:xfrm>
          <a:prstGeom prst="rect">
            <a:avLst/>
          </a:prstGeom>
        </p:spPr>
      </p:pic>
      <p:sp>
        <p:nvSpPr>
          <p:cNvPr id="4" name="Rectangle 3">
            <a:hlinkClick r:id="rId5" action="ppaction://hlinksldjump"/>
            <a:extLst>
              <a:ext uri="{FF2B5EF4-FFF2-40B4-BE49-F238E27FC236}">
                <a16:creationId xmlns:a16="http://schemas.microsoft.com/office/drawing/2014/main" id="{F886C8C7-35BA-2DDF-59FD-C57F4232E708}"/>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hlinkClick r:id="rId6" action="ppaction://hlinksldjump"/>
            <a:extLst>
              <a:ext uri="{FF2B5EF4-FFF2-40B4-BE49-F238E27FC236}">
                <a16:creationId xmlns:a16="http://schemas.microsoft.com/office/drawing/2014/main" id="{EF7C9DD8-43C1-B991-8A61-40D39DB4FD04}"/>
              </a:ext>
            </a:extLst>
          </p:cNvPr>
          <p:cNvSpPr/>
          <p:nvPr/>
        </p:nvSpPr>
        <p:spPr bwMode="gray">
          <a:xfrm>
            <a:off x="11281215" y="6391922"/>
            <a:ext cx="348532" cy="400975"/>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54511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extraClrScheme>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Theme1" id="{BC77C0DB-011E-4E9D-9E35-B023156D17B6}" vid="{7B57D5E1-399C-490E-9DA9-B317FA4F65D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ppt/theme/theme3.xml><?xml version="1.0" encoding="utf-8"?>
<a:theme xmlns:a="http://schemas.openxmlformats.org/drawingml/2006/main" name="1_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BF78F144-9148-4FE2-90A3-22B02663985C}" vid="{7E0A84AD-0D61-494A-8D90-8D69DD71D350}"/>
    </a:ext>
  </a:extLst>
</a:theme>
</file>

<file path=ppt/theme/theme4.xml><?xml version="1.0" encoding="utf-8"?>
<a:theme xmlns:a="http://schemas.openxmlformats.org/drawingml/2006/main" name="1_Theme1">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Theme1" id="{63C0EA73-F152-48BC-9EBF-068A042DCF45}" vid="{78CD4366-52A4-4C2C-A3A1-DC53D31BED40}"/>
    </a:ext>
  </a:extLst>
</a:theme>
</file>

<file path=ppt/theme/theme5.xml><?xml version="1.0" encoding="utf-8"?>
<a:theme xmlns:a="http://schemas.openxmlformats.org/drawingml/2006/main" name="3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30901.potx" id="{AD9218FC-2CC4-4ECC-8989-62FD0C38183F}" vid="{06FD1901-2763-4D62-9C71-FC4C3DF2609D}"/>
    </a:ext>
  </a:extLst>
</a:theme>
</file>

<file path=ppt/theme/theme6.xml><?xml version="1.0" encoding="utf-8"?>
<a:theme xmlns:a="http://schemas.openxmlformats.org/drawingml/2006/main" name="2_Theme1">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Theme1" id="{63C0EA73-F152-48BC-9EBF-068A042DCF45}" vid="{78CD4366-52A4-4C2C-A3A1-DC53D31BED40}"/>
    </a:ext>
  </a:extLst>
</a:theme>
</file>

<file path=ppt/theme/theme7.xml><?xml version="1.0" encoding="utf-8"?>
<a:theme xmlns:a="http://schemas.openxmlformats.org/drawingml/2006/main" name="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30901.potx" id="{AD9218FC-2CC4-4ECC-8989-62FD0C38183F}" vid="{06FD1901-2763-4D62-9C71-FC4C3DF2609D}"/>
    </a:ext>
  </a:extLst>
</a:theme>
</file>

<file path=ppt/theme/theme8.xml><?xml version="1.0" encoding="utf-8"?>
<a:theme xmlns:a="http://schemas.openxmlformats.org/drawingml/2006/main" name="4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glg-20230901  -  Read-Only" id="{91E45CB1-61F8-4253-9206-FEBFBC6ED567}" vid="{CE739244-92FC-4C41-B126-F0AB55E70536}"/>
    </a:ext>
  </a:extLst>
</a:theme>
</file>

<file path=ppt/theme/theme9.xml><?xml version="1.0" encoding="utf-8"?>
<a:theme xmlns:a="http://schemas.openxmlformats.org/drawingml/2006/main" name="5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30901.potx" id="{AD9218FC-2CC4-4ECC-8989-62FD0C38183F}" vid="{06FD1901-2763-4D62-9C71-FC4C3DF2609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BA7DB4AF249DA4A93166A0302B4ED20" ma:contentTypeVersion="18" ma:contentTypeDescription="Create a new document." ma:contentTypeScope="" ma:versionID="ababf12d94df8b122be8c8113b7164d8">
  <xsd:schema xmlns:xsd="http://www.w3.org/2001/XMLSchema" xmlns:xs="http://www.w3.org/2001/XMLSchema" xmlns:p="http://schemas.microsoft.com/office/2006/metadata/properties" xmlns:ns2="931c8a05-ef8c-4d12-a116-d3b5c016c9d9" xmlns:ns3="72e71d6a-dace-44cc-9edf-ed41cdb3bab6" targetNamespace="http://schemas.microsoft.com/office/2006/metadata/properties" ma:root="true" ma:fieldsID="d903383d28318af8f1784ae9a75ee576" ns2:_="" ns3:_="">
    <xsd:import namespace="931c8a05-ef8c-4d12-a116-d3b5c016c9d9"/>
    <xsd:import namespace="72e71d6a-dace-44cc-9edf-ed41cdb3bab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1c8a05-ef8c-4d12-a116-d3b5c016c9d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cba98b6-714c-4194-959a-78c2e2b344c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Notes" ma:index="25" nillable="true" ma:displayName="Notes" ma:description="This is a 1st draft and is only a guidance sheet to compliment the onboarding tool" ma:format="Dropdown" ma:internalName="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e71d6a-dace-44cc-9edf-ed41cdb3bab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a92e8945-fec1-429e-8d58-1d2f39c7d296}" ma:internalName="TaxCatchAll" ma:showField="CatchAllData" ma:web="72e71d6a-dace-44cc-9edf-ed41cdb3bab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31c8a05-ef8c-4d12-a116-d3b5c016c9d9">
      <Terms xmlns="http://schemas.microsoft.com/office/infopath/2007/PartnerControls"/>
    </lcf76f155ced4ddcb4097134ff3c332f>
    <TaxCatchAll xmlns="72e71d6a-dace-44cc-9edf-ed41cdb3bab6" xsi:nil="true"/>
    <Notes xmlns="931c8a05-ef8c-4d12-a116-d3b5c016c9d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51BFBAC-6119-4D0F-83CB-8F8180BF21B6}"/>
</file>

<file path=customXml/itemProps2.xml><?xml version="1.0" encoding="utf-8"?>
<ds:datastoreItem xmlns:ds="http://schemas.openxmlformats.org/officeDocument/2006/customXml" ds:itemID="{F4F5195A-122A-419A-AE44-4CC46302593B}">
  <ds:schemaRefs>
    <ds:schemaRef ds:uri="624e3aa4-12ee-4888-a761-f39e68f759f5"/>
    <ds:schemaRef ds:uri="f338b914-ec86-4fc4-940b-d0576812026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0A9BC90-F41C-41FA-96AD-1DB70265B27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Application>Microsoft Office PowerPoint</Application>
  <PresentationFormat>Widescreen</PresentationFormat>
  <Slides>45</Slides>
  <Notes>2</Notes>
  <HiddenSlides>1</HiddenSlides>
  <ScaleCrop>false</ScaleCrop>
  <HeadingPairs>
    <vt:vector size="4" baseType="variant">
      <vt:variant>
        <vt:lpstr>Theme</vt:lpstr>
      </vt:variant>
      <vt:variant>
        <vt:i4>9</vt:i4>
      </vt:variant>
      <vt:variant>
        <vt:lpstr>Slide Titles</vt:lpstr>
      </vt:variant>
      <vt:variant>
        <vt:i4>45</vt:i4>
      </vt:variant>
    </vt:vector>
  </HeadingPairs>
  <TitlesOfParts>
    <vt:vector size="54" baseType="lpstr">
      <vt:lpstr>Theme1</vt:lpstr>
      <vt:lpstr>2_Optum Theme</vt:lpstr>
      <vt:lpstr>1_Optum Theme</vt:lpstr>
      <vt:lpstr>1_Theme1</vt:lpstr>
      <vt:lpstr>3_Optum Theme</vt:lpstr>
      <vt:lpstr>2_Theme1</vt:lpstr>
      <vt:lpstr>Optum Theme</vt:lpstr>
      <vt:lpstr>4_Optum Theme</vt:lpstr>
      <vt:lpstr>5_Optum Theme</vt:lpstr>
      <vt:lpstr>Quantitative Study Methods</vt:lpstr>
      <vt:lpstr>Agenda</vt:lpstr>
      <vt:lpstr>Objectives for the session</vt:lpstr>
      <vt:lpstr>Quantitative data to support analysis</vt:lpstr>
      <vt:lpstr>Quantitative Evaluation: Strengths and Weaknesses </vt:lpstr>
      <vt:lpstr>Quantitative Evaluation: Checklist and data types</vt:lpstr>
      <vt:lpstr>Secondary data sources</vt:lpstr>
      <vt:lpstr>Quantitative measures</vt:lpstr>
      <vt:lpstr>Using surveys to collect quantitative data – principles and consideration</vt:lpstr>
      <vt:lpstr>Using surveys to collect quantitative data</vt:lpstr>
      <vt:lpstr>ONS4 Wellbeing Survey results for England 2016</vt:lpstr>
      <vt:lpstr>Designing your quantitative evaluation</vt:lpstr>
      <vt:lpstr>Study design approaches</vt:lpstr>
      <vt:lpstr>PowerPoint Presentation</vt:lpstr>
      <vt:lpstr>PowerPoint Presentation</vt:lpstr>
      <vt:lpstr>PowerPoint Presentation</vt:lpstr>
      <vt:lpstr>Choosing control groups</vt:lpstr>
      <vt:lpstr>Generating matched cohorts</vt:lpstr>
      <vt:lpstr>PowerPoint Presentation</vt:lpstr>
      <vt:lpstr>Discussion:</vt:lpstr>
      <vt:lpstr>Correlation vs causality</vt:lpstr>
      <vt:lpstr>PowerPoint Presentation</vt:lpstr>
      <vt:lpstr>Correlation vs Causation - definitions</vt:lpstr>
      <vt:lpstr>Correlation does not equal causation – spurious correlation</vt:lpstr>
      <vt:lpstr>Correlation does not equal causation - Confounding</vt:lpstr>
      <vt:lpstr>Correlation does not equal causation - Ecological fallacy</vt:lpstr>
      <vt:lpstr>Questions of causality</vt:lpstr>
      <vt:lpstr>Evaluation: limitations, documentation and building confidence</vt:lpstr>
      <vt:lpstr>Hypothesis testing</vt:lpstr>
      <vt:lpstr>Confidence intervals</vt:lpstr>
      <vt:lpstr>Significance and P values</vt:lpstr>
      <vt:lpstr>Population sizes and Power of studies</vt:lpstr>
      <vt:lpstr>Measuring impact </vt:lpstr>
      <vt:lpstr>Baselining</vt:lpstr>
      <vt:lpstr>Tracking and follow up</vt:lpstr>
      <vt:lpstr>Before and after differences</vt:lpstr>
      <vt:lpstr>How to undertake a paired t-test in Excel </vt:lpstr>
      <vt:lpstr>Summarising your quantitative evaluation</vt:lpstr>
      <vt:lpstr>Quantifying effect size between your intervention and control group in quasi-experimental design </vt:lpstr>
      <vt:lpstr>Quantifying effect size between your intervention and control group in quasi-experimental design – an example</vt:lpstr>
      <vt:lpstr>Summary and next steps</vt:lpstr>
      <vt:lpstr>Summary</vt:lpstr>
      <vt:lpstr>Evaluation: How have we met the objectives of today’s session?</vt:lpstr>
      <vt:lpstr>Our Evaluation Journey: What’s nex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hrami Jovein, Layla (she/her)</dc:creator>
  <cp:revision>1</cp:revision>
  <dcterms:created xsi:type="dcterms:W3CDTF">2023-11-19T21:43:23Z</dcterms:created>
  <dcterms:modified xsi:type="dcterms:W3CDTF">2024-01-09T15:58: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FD6445A5464847BC8D880FF86B1113</vt:lpwstr>
  </property>
  <property fmtid="{D5CDD505-2E9C-101B-9397-08002B2CF9AE}" pid="3" name="MediaServiceImageTags">
    <vt:lpwstr/>
  </property>
</Properties>
</file>